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s/slide15.xml" ContentType="application/vnd.openxmlformats-officedocument.presentationml.slide+xml"/>
  <Override PartName="/ppt/slides/slide4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8.xml" ContentType="application/vnd.openxmlformats-officedocument.presentationml.slide+xml"/>
  <Override PartName="/ppt/slides/slide21.xml" ContentType="application/vnd.openxmlformats-officedocument.presentationml.slide+xml"/>
  <Override PartName="/ppt/slides/slide5.xml" ContentType="application/vnd.openxmlformats-officedocument.presentationml.slide+xml"/>
  <Override PartName="/ppt/slides/slide18.xml" ContentType="application/vnd.openxmlformats-officedocument.presentationml.slide+xml"/>
  <Override PartName="/ppt/slides/slide3.xml" ContentType="application/vnd.openxmlformats-officedocument.presentationml.slide+xml"/>
  <Override PartName="/ppt/slides/slide12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9.xml" ContentType="application/vnd.openxmlformats-officedocument.presentationml.slide+xml"/>
  <Override PartName="/ppt/slides/slide13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4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10.xml" ContentType="application/vnd.openxmlformats-officedocument.presentationml.slide+xml"/>
  <Override PartName="/ppt/slides/slide7.xml" ContentType="application/vnd.openxmlformats-officedocument.presentationml.slide+xml"/>
  <Override PartName="/ppt/slides/slide29.xml" ContentType="application/vnd.openxmlformats-officedocument.presentationml.slide+xml"/>
  <Override PartName="/ppt/slides/slide27.xml" ContentType="application/vnd.openxmlformats-officedocument.presentationml.slide+xml"/>
  <Override PartName="/ppt/slides/slide6.xml" ContentType="application/vnd.openxmlformats-officedocument.presentationml.slide+xml"/>
  <Override PartName="/ppt/slides/slide24.xml" ContentType="application/vnd.openxmlformats-officedocument.presentationml.slide+xml"/>
  <Override PartName="/ppt/slides/slide11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8.xml" ContentType="application/vnd.openxmlformats-officedocument.presentationml.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1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4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8.xml" ContentType="application/vnd.openxmlformats-officedocument.presentationml.notesSlide+xml"/>
  <Override PartName="/ppt/slideLayouts/slideLayout2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charts/style3.xml" ContentType="application/vnd.ms-office.chartstyle+xml"/>
  <Override PartName="/ppt/theme/theme2.xml" ContentType="application/vnd.openxmlformats-officedocument.theme+xml"/>
  <Override PartName="/ppt/theme/theme3.xml" ContentType="application/vnd.openxmlformats-officedocument.theme+xml"/>
  <Override PartName="/ppt/commentAuthors.xml" ContentType="application/vnd.openxmlformats-officedocument.presentationml.commentAuthors+xml"/>
  <Override PartName="/ppt/theme/theme1.xml" ContentType="application/vnd.openxmlformats-officedocument.theme+xml"/>
  <Override PartName="/ppt/charts/style2.xml" ContentType="application/vnd.ms-office.chartstyle+xml"/>
  <Override PartName="/ppt/charts/chart1.xml" ContentType="application/vnd.openxmlformats-officedocument.drawingml.chart+xml"/>
  <Override PartName="/ppt/charts/colors2.xml" ContentType="application/vnd.ms-office.chartcolor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1.xml" ContentType="application/vnd.ms-office.chartstyle+xml"/>
  <Override PartName="/ppt/charts/colors3.xml" ContentType="application/vnd.ms-office.chartcolorstyle+xml"/>
  <Override PartName="/ppt/charts/chart3.xml" ContentType="application/vnd.openxmlformats-officedocument.drawingml.chart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36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.xml" ContentType="application/vnd.openxmlformats-officedocument.presentationml.tags+xml"/>
  <Override PartName="/ppt/tags/tag4.xml" ContentType="application/vnd.openxmlformats-officedocument.presentationml.tags+xml"/>
  <Override PartName="/ppt/tags/tag10.xml" ContentType="application/vnd.openxmlformats-officedocument.presentationml.tags+xml"/>
  <Override PartName="/ppt/tags/tag2.xml" ContentType="application/vnd.openxmlformats-officedocument.presentationml.tags+xml"/>
  <Override PartName="/ppt/tags/tag8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9.xml" ContentType="application/vnd.openxmlformats-officedocument.presentationml.tags+xml"/>
  <Override PartName="/ppt/tags/tag7.xml" ContentType="application/vnd.openxmlformats-officedocument.presentationml.tags+xml"/>
  <Override PartName="/ppt/tags/tag16.xml" ContentType="application/vnd.openxmlformats-officedocument.presentationml.tags+xml"/>
  <Override PartName="/ppt/tags/tag35.xml" ContentType="application/vnd.openxmlformats-officedocument.presentationml.tags+xml"/>
  <Override PartName="/ppt/tags/tag28.xml" ContentType="application/vnd.openxmlformats-officedocument.presentationml.tags+xml"/>
  <Override PartName="/ppt/tags/tag27.xml" ContentType="application/vnd.openxmlformats-officedocument.presentationml.tags+xml"/>
  <Override PartName="/ppt/tags/tag38.xml" ContentType="application/vnd.openxmlformats-officedocument.presentationml.tags+xml"/>
  <Override PartName="/ppt/tags/tag26.xml" ContentType="application/vnd.openxmlformats-officedocument.presentationml.tags+xml"/>
  <Override PartName="/ppt/tags/tag37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4.xml" ContentType="application/vnd.openxmlformats-officedocument.presentationml.tags+xml"/>
  <Override PartName="/ppt/tags/tag33.xml" ContentType="application/vnd.openxmlformats-officedocument.presentationml.tags+xml"/>
  <Override PartName="/ppt/tags/tag32.xml" ContentType="application/vnd.openxmlformats-officedocument.presentationml.tags+xml"/>
  <Override PartName="/ppt/tags/tag31.xml" ContentType="application/vnd.openxmlformats-officedocument.presentationml.tags+xml"/>
  <Override PartName="/ppt/tags/tag15.xml" ContentType="application/vnd.openxmlformats-officedocument.presentationml.tags+xml"/>
  <Override PartName="/ppt/tags/tag25.xml" ContentType="application/vnd.openxmlformats-officedocument.presentationml.tags+xml"/>
  <Override PartName="/ppt/tags/tag24.xml" ContentType="application/vnd.openxmlformats-officedocument.presentationml.tags+xml"/>
  <Override PartName="/docProps/app.xml" ContentType="application/vnd.openxmlformats-officedocument.extended-properties+xml"/>
  <Override PartName="/ppt/tags/tag18.xml" ContentType="application/vnd.openxmlformats-officedocument.presentationml.tags+xml"/>
  <Override PartName="/ppt/tags/tag17.xml" ContentType="application/vnd.openxmlformats-officedocument.presentationml.tags+xml"/>
  <Override PartName="/ppt/tags/tag3.xml" ContentType="application/vnd.openxmlformats-officedocument.presentationml.tags+xml"/>
  <Override PartName="/ppt/revisionInfo.xml" ContentType="application/vnd.ms-powerpoint.revisioninfo+xml"/>
  <Override PartName="/ppt/tags/tag19.xml" ContentType="application/vnd.openxmlformats-officedocument.presentationml.tags+xml"/>
  <Override PartName="/docProps/core.xml" ContentType="application/vnd.openxmlformats-package.core-properties+xml"/>
  <Override PartName="/ppt/tags/tag23.xml" ContentType="application/vnd.openxmlformats-officedocument.presentationml.tags+xml"/>
  <Override PartName="/ppt/tags/tag22.xml" ContentType="application/vnd.openxmlformats-officedocument.presentationml.tags+xml"/>
  <Override PartName="/ppt/tags/tag21.xml" ContentType="application/vnd.openxmlformats-officedocument.presentationml.tags+xml"/>
  <Override PartName="/ppt/tags/tag20.xml" ContentType="application/vnd.openxmlformats-officedocument.presentationml.tags+xml"/>
  <Override PartName="/customXml/itemProps3.xml" ContentType="application/vnd.openxmlformats-officedocument.customXml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4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bookmarkIdSeed="2">
  <p:sldMasterIdLst>
    <p:sldMasterId id="2147483728" r:id="rId1"/>
  </p:sldMasterIdLst>
  <p:notesMasterIdLst>
    <p:notesMasterId r:id="rId36"/>
  </p:notesMasterIdLst>
  <p:handoutMasterIdLst>
    <p:handoutMasterId r:id="rId37"/>
  </p:handoutMasterIdLst>
  <p:sldIdLst>
    <p:sldId id="256" r:id="rId2"/>
    <p:sldId id="305" r:id="rId3"/>
    <p:sldId id="295" r:id="rId4"/>
    <p:sldId id="298" r:id="rId5"/>
    <p:sldId id="299" r:id="rId6"/>
    <p:sldId id="304" r:id="rId7"/>
    <p:sldId id="302" r:id="rId8"/>
    <p:sldId id="303" r:id="rId9"/>
    <p:sldId id="278" r:id="rId10"/>
    <p:sldId id="317" r:id="rId11"/>
    <p:sldId id="318" r:id="rId12"/>
    <p:sldId id="319" r:id="rId13"/>
    <p:sldId id="306" r:id="rId14"/>
    <p:sldId id="307" r:id="rId15"/>
    <p:sldId id="308" r:id="rId16"/>
    <p:sldId id="309" r:id="rId17"/>
    <p:sldId id="314" r:id="rId18"/>
    <p:sldId id="315" r:id="rId19"/>
    <p:sldId id="316" r:id="rId20"/>
    <p:sldId id="321" r:id="rId21"/>
    <p:sldId id="326" r:id="rId22"/>
    <p:sldId id="327" r:id="rId23"/>
    <p:sldId id="325" r:id="rId24"/>
    <p:sldId id="322" r:id="rId25"/>
    <p:sldId id="329" r:id="rId26"/>
    <p:sldId id="276" r:id="rId27"/>
    <p:sldId id="274" r:id="rId28"/>
    <p:sldId id="275" r:id="rId29"/>
    <p:sldId id="328" r:id="rId30"/>
    <p:sldId id="310" r:id="rId31"/>
    <p:sldId id="311" r:id="rId32"/>
    <p:sldId id="312" r:id="rId33"/>
    <p:sldId id="313" r:id="rId34"/>
    <p:sldId id="323" r:id="rId35"/>
  </p:sldIdLst>
  <p:sldSz cx="9144000" cy="5143500" type="screen16x9"/>
  <p:notesSz cx="6797675" cy="9926638"/>
  <p:custDataLst>
    <p:tags r:id="rId3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58">
          <p15:clr>
            <a:srgbClr val="A4A3A4"/>
          </p15:clr>
        </p15:guide>
        <p15:guide id="2" orient="horz" pos="3230" userDrawn="1">
          <p15:clr>
            <a:srgbClr val="A4A3A4"/>
          </p15:clr>
        </p15:guide>
        <p15:guide id="10" pos="5556" userDrawn="1">
          <p15:clr>
            <a:srgbClr val="A4A3A4"/>
          </p15:clr>
        </p15:guide>
        <p15:guide id="11" pos="204" userDrawn="1">
          <p15:clr>
            <a:srgbClr val="A4A3A4"/>
          </p15:clr>
        </p15:guide>
        <p15:guide id="12" pos="1950">
          <p15:clr>
            <a:srgbClr val="A4A3A4"/>
          </p15:clr>
        </p15:guide>
        <p15:guide id="13" pos="3810">
          <p15:clr>
            <a:srgbClr val="A4A3A4"/>
          </p15:clr>
        </p15:guide>
        <p15:guide id="14" pos="2880">
          <p15:clr>
            <a:srgbClr val="A4A3A4"/>
          </p15:clr>
        </p15:guide>
        <p15:guide id="15" pos="2194" userDrawn="1">
          <p15:clr>
            <a:srgbClr val="A4A3A4"/>
          </p15:clr>
        </p15:guide>
        <p15:guide id="16" pos="376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o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6AA"/>
    <a:srgbClr val="0066A9"/>
    <a:srgbClr val="82A4CE"/>
    <a:srgbClr val="0072C0"/>
    <a:srgbClr val="006BB4"/>
    <a:srgbClr val="699AC9"/>
    <a:srgbClr val="000000"/>
    <a:srgbClr val="A5C2DF"/>
    <a:srgbClr val="3366FF"/>
    <a:srgbClr val="00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86534" autoAdjust="0"/>
  </p:normalViewPr>
  <p:slideViewPr>
    <p:cSldViewPr snapToObjects="1" showGuides="1">
      <p:cViewPr varScale="1">
        <p:scale>
          <a:sx n="132" d="100"/>
          <a:sy n="132" d="100"/>
        </p:scale>
        <p:origin x="984" y="96"/>
      </p:cViewPr>
      <p:guideLst>
        <p:guide orient="horz" pos="2958"/>
        <p:guide orient="horz" pos="3230"/>
        <p:guide pos="5556"/>
        <p:guide pos="204"/>
        <p:guide pos="1950"/>
        <p:guide pos="3810"/>
        <p:guide pos="2880"/>
        <p:guide pos="2194"/>
        <p:guide pos="3765"/>
      </p:guideLst>
    </p:cSldViewPr>
  </p:slideViewPr>
  <p:outlineViewPr>
    <p:cViewPr>
      <p:scale>
        <a:sx n="33" d="100"/>
        <a:sy n="33" d="100"/>
      </p:scale>
      <p:origin x="0" y="6444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 showGuides="1">
      <p:cViewPr varScale="1">
        <p:scale>
          <a:sx n="80" d="100"/>
          <a:sy n="80" d="100"/>
        </p:scale>
        <p:origin x="-3912" y="-90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commentAuthors" Target="commentAuthor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heme" Target="theme/theme1.xml"/><Relationship Id="rId47" Type="http://schemas.openxmlformats.org/officeDocument/2006/relationships/customXml" Target="../customXml/item3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handoutMaster" Target="handoutMasters/handoutMaster1.xml"/><Relationship Id="rId40" Type="http://schemas.openxmlformats.org/officeDocument/2006/relationships/presProps" Target="presProps.xml"/><Relationship Id="rId45" Type="http://schemas.openxmlformats.org/officeDocument/2006/relationships/customXml" Target="../customXml/item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bleStyles" Target="tableStyles.xml"/><Relationship Id="rId48" Type="http://schemas.openxmlformats.org/officeDocument/2006/relationships/customXml" Target="../customXml/item4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gs" Target="tags/tag1.xml"/><Relationship Id="rId46" Type="http://schemas.openxmlformats.org/officeDocument/2006/relationships/customXml" Target="../customXml/item2.xml"/><Relationship Id="rId20" Type="http://schemas.openxmlformats.org/officeDocument/2006/relationships/slide" Target="slides/slide19.xml"/><Relationship Id="rId41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file:///\\e-control.loc\home\dir\ais\2016_08_04\GRI%20SSE\2018_06_07%20GRI%20SSE%20Prag\Mappe1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/>
              <a:t>total costs</a:t>
            </a:r>
            <a:r>
              <a:rPr lang="de-DE" baseline="0"/>
              <a:t> form VTP RO to VTP AT      (f=1) </a:t>
            </a:r>
            <a:endParaRPr lang="de-DE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v>transportation tariff</c:v>
          </c:tx>
          <c:spPr>
            <a:solidFill>
              <a:schemeClr val="accent1">
                <a:alpha val="85000"/>
              </a:scheme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7030A0">
                  <a:alpha val="67000"/>
                </a:srgbClr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ECC6-49A7-9C12-02B02684B400}"/>
              </c:ext>
            </c:extLst>
          </c:dPt>
          <c:dPt>
            <c:idx val="2"/>
            <c:invertIfNegative val="0"/>
            <c:bubble3D val="0"/>
            <c:spPr>
              <a:solidFill>
                <a:srgbClr val="FF0000">
                  <a:alpha val="59000"/>
                </a:srgbClr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ECC6-49A7-9C12-02B02684B40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Tabelle1 (2)'!$I$13:$I$15</c:f>
              <c:strCache>
                <c:ptCount val="3"/>
                <c:pt idx="0">
                  <c:v>ROHUAT</c:v>
                </c:pt>
                <c:pt idx="1">
                  <c:v>ROHU + HUAT</c:v>
                </c:pt>
                <c:pt idx="2">
                  <c:v>ROHU + HUSKAT</c:v>
                </c:pt>
              </c:strCache>
            </c:strRef>
          </c:cat>
          <c:val>
            <c:numRef>
              <c:f>'Tabelle1 (2)'!$J$13:$J$15</c:f>
              <c:numCache>
                <c:formatCode>General</c:formatCode>
                <c:ptCount val="3"/>
                <c:pt idx="0">
                  <c:v>1058</c:v>
                </c:pt>
                <c:pt idx="1">
                  <c:v>1363</c:v>
                </c:pt>
                <c:pt idx="2">
                  <c:v>8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CC6-49A7-9C12-02B02684B400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65"/>
        <c:axId val="1327404528"/>
        <c:axId val="1327435392"/>
        <c:extLst>
          <c:ext xmlns:c15="http://schemas.microsoft.com/office/drawing/2012/chart" uri="{02D57815-91ED-43cb-92C2-25804820EDAC}">
            <c15:filteredBarSeries>
              <c15:ser>
                <c:idx val="1"/>
                <c:order val="1"/>
                <c:spPr>
                  <a:solidFill>
                    <a:schemeClr val="accent2">
                      <a:alpha val="85000"/>
                    </a:schemeClr>
                  </a:solidFill>
                  <a:ln w="9525" cap="flat" cmpd="sng" algn="ctr">
                    <a:solidFill>
                      <a:schemeClr val="lt1">
                        <a:alpha val="50000"/>
                      </a:schemeClr>
                    </a:solidFill>
                    <a:round/>
                  </a:ln>
                  <a:effectLst/>
                </c:spPr>
                <c:invertIfNegative val="0"/>
                <c:dLbls>
                  <c:delete val="1"/>
                </c:dLbls>
                <c:cat>
                  <c:strRef>
                    <c:extLst>
                      <c:ext uri="{02D57815-91ED-43cb-92C2-25804820EDAC}">
                        <c15:formulaRef>
                          <c15:sqref>'Tabelle1 (2)'!$I$13:$I$15</c15:sqref>
                        </c15:formulaRef>
                      </c:ext>
                    </c:extLst>
                    <c:strCache>
                      <c:ptCount val="3"/>
                      <c:pt idx="0">
                        <c:v>ROHUAT</c:v>
                      </c:pt>
                      <c:pt idx="1">
                        <c:v>ROHU + HUAT</c:v>
                      </c:pt>
                      <c:pt idx="2">
                        <c:v>ROHU + HUSKAT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'Tabelle1 (2)'!$K$13:$K$15</c15:sqref>
                        </c15:formulaRef>
                      </c:ext>
                    </c:extLst>
                    <c:numCache>
                      <c:formatCode>General</c:formatCode>
                      <c:ptCount val="3"/>
                      <c:pt idx="0">
                        <c:v>0</c:v>
                      </c:pt>
                      <c:pt idx="1">
                        <c:v>0</c:v>
                      </c:pt>
                      <c:pt idx="2">
                        <c:v>0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5-ECC6-49A7-9C12-02B02684B400}"/>
                  </c:ext>
                </c:extLst>
              </c15:ser>
            </c15:filteredBarSeries>
          </c:ext>
        </c:extLst>
      </c:barChart>
      <c:catAx>
        <c:axId val="1327404528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/>
                  <a:t>possible</a:t>
                </a:r>
                <a:r>
                  <a:rPr lang="de-DE" baseline="0"/>
                  <a:t> projects</a:t>
                </a:r>
                <a:endParaRPr lang="de-DE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900" b="1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327435392"/>
        <c:crosses val="autoZero"/>
        <c:auto val="1"/>
        <c:lblAlgn val="ctr"/>
        <c:lblOffset val="100"/>
        <c:noMultiLvlLbl val="0"/>
      </c:catAx>
      <c:valAx>
        <c:axId val="1327435392"/>
        <c:scaling>
          <c:orientation val="minMax"/>
        </c:scaling>
        <c:delete val="0"/>
        <c:axPos val="b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/>
                  <a:t>mio €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900" b="1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3274045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de-DE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/>
              <a:t>Transportation</a:t>
            </a:r>
            <a:r>
              <a:rPr lang="de-DE" baseline="0"/>
              <a:t> tariffs form VTP RO to VTP AT </a:t>
            </a:r>
            <a:endParaRPr lang="de-DE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v>transportation tariff</c:v>
          </c:tx>
          <c:spPr>
            <a:solidFill>
              <a:schemeClr val="accent1">
                <a:alpha val="85000"/>
              </a:scheme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7030A0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ADED-476D-AB90-6AF92BAC10E2}"/>
              </c:ext>
            </c:extLst>
          </c:dPt>
          <c:dPt>
            <c:idx val="2"/>
            <c:invertIfNegative val="0"/>
            <c:bubble3D val="0"/>
            <c:spPr>
              <a:solidFill>
                <a:srgbClr val="FF0000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ADED-476D-AB90-6AF92BAC10E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I$13:$I$15</c:f>
              <c:strCache>
                <c:ptCount val="3"/>
                <c:pt idx="0">
                  <c:v>ROHUAT</c:v>
                </c:pt>
                <c:pt idx="1">
                  <c:v>ROHU + HUAT</c:v>
                </c:pt>
                <c:pt idx="2">
                  <c:v>ROHU + HUSKAT</c:v>
                </c:pt>
              </c:strCache>
            </c:strRef>
          </c:cat>
          <c:val>
            <c:numRef>
              <c:f>Tabelle1!$J$13:$J$15</c:f>
              <c:numCache>
                <c:formatCode>General</c:formatCode>
                <c:ptCount val="3"/>
                <c:pt idx="0">
                  <c:v>23.47</c:v>
                </c:pt>
                <c:pt idx="1">
                  <c:v>50.57</c:v>
                </c:pt>
                <c:pt idx="2">
                  <c:v>28.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DED-476D-AB90-6AF92BAC10E2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65"/>
        <c:axId val="1327404528"/>
        <c:axId val="1327435392"/>
        <c:extLst>
          <c:ext xmlns:c15="http://schemas.microsoft.com/office/drawing/2012/chart" uri="{02D57815-91ED-43cb-92C2-25804820EDAC}">
            <c15:filteredBarSeries>
              <c15:ser>
                <c:idx val="1"/>
                <c:order val="1"/>
                <c:spPr>
                  <a:solidFill>
                    <a:schemeClr val="accent2">
                      <a:alpha val="85000"/>
                    </a:schemeClr>
                  </a:solidFill>
                  <a:ln w="9525" cap="flat" cmpd="sng" algn="ctr">
                    <a:solidFill>
                      <a:schemeClr val="lt1">
                        <a:alpha val="50000"/>
                      </a:schemeClr>
                    </a:solidFill>
                    <a:round/>
                  </a:ln>
                  <a:effectLst/>
                </c:spPr>
                <c:invertIfNegative val="0"/>
                <c:dLbls>
                  <c:delete val="1"/>
                </c:dLbls>
                <c:cat>
                  <c:strRef>
                    <c:extLst>
                      <c:ext uri="{02D57815-91ED-43cb-92C2-25804820EDAC}">
                        <c15:formulaRef>
                          <c15:sqref>Tabelle1!$I$13:$I$15</c15:sqref>
                        </c15:formulaRef>
                      </c:ext>
                    </c:extLst>
                    <c:strCache>
                      <c:ptCount val="3"/>
                      <c:pt idx="0">
                        <c:v>ROHUAT</c:v>
                      </c:pt>
                      <c:pt idx="1">
                        <c:v>ROHU + HUAT</c:v>
                      </c:pt>
                      <c:pt idx="2">
                        <c:v>ROHU + HUSKAT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Tabelle1!$K$13:$K$15</c15:sqref>
                        </c15:formulaRef>
                      </c:ext>
                    </c:extLst>
                    <c:numCache>
                      <c:formatCode>General</c:formatCode>
                      <c:ptCount val="3"/>
                      <c:pt idx="0">
                        <c:v>0</c:v>
                      </c:pt>
                      <c:pt idx="1">
                        <c:v>0</c:v>
                      </c:pt>
                      <c:pt idx="2">
                        <c:v>0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5-ADED-476D-AB90-6AF92BAC10E2}"/>
                  </c:ext>
                </c:extLst>
              </c15:ser>
            </c15:filteredBarSeries>
          </c:ext>
        </c:extLst>
      </c:barChart>
      <c:catAx>
        <c:axId val="1327404528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/>
                  <a:t>possible</a:t>
                </a:r>
                <a:r>
                  <a:rPr lang="de-DE" baseline="0"/>
                  <a:t> projects</a:t>
                </a:r>
                <a:endParaRPr lang="de-DE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900" b="1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327435392"/>
        <c:crosses val="autoZero"/>
        <c:auto val="1"/>
        <c:lblAlgn val="ctr"/>
        <c:lblOffset val="100"/>
        <c:noMultiLvlLbl val="0"/>
      </c:catAx>
      <c:valAx>
        <c:axId val="1327435392"/>
        <c:scaling>
          <c:orientation val="minMax"/>
        </c:scaling>
        <c:delete val="0"/>
        <c:axPos val="b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/>
                  <a:t>€/kWh/h/y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900" b="1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3274045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100" baseline="0">
                <a:solidFill>
                  <a:schemeClr val="lt1">
                    <a:lumMod val="9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pPr>
            <a:r>
              <a:rPr lang="de-DE"/>
              <a:t>total costs form VTP RO to VTP AT      (f=1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100" baseline="0">
              <a:solidFill>
                <a:schemeClr val="lt1">
                  <a:lumMod val="95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bar"/>
        <c:grouping val="stacked"/>
        <c:varyColors val="0"/>
        <c:ser>
          <c:idx val="0"/>
          <c:order val="0"/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Pt>
            <c:idx val="1"/>
            <c:invertIfNegative val="0"/>
            <c:bubble3D val="0"/>
            <c:spPr>
              <a:solidFill>
                <a:srgbClr val="7030A0"/>
              </a:solidFill>
              <a:ln>
                <a:solidFill>
                  <a:srgbClr val="7030A0"/>
                </a:solidFill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>
              <c:ext xmlns:c16="http://schemas.microsoft.com/office/drawing/2014/chart" uri="{C3380CC4-5D6E-409C-BE32-E72D297353CC}">
                <c16:uniqueId val="{00000001-B380-41BD-BA39-ADF8611D9AF9}"/>
              </c:ext>
            </c:extLst>
          </c:dPt>
          <c:dPt>
            <c:idx val="2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>
              <c:ext xmlns:c16="http://schemas.microsoft.com/office/drawing/2014/chart" uri="{C3380CC4-5D6E-409C-BE32-E72D297353CC}">
                <c16:uniqueId val="{00000003-B380-41BD-BA39-ADF8611D9AF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Tabelle1 (3)'!$I$13:$I$15</c:f>
              <c:strCache>
                <c:ptCount val="3"/>
                <c:pt idx="0">
                  <c:v>ROHUAT</c:v>
                </c:pt>
                <c:pt idx="1">
                  <c:v>ROHU + HUAT</c:v>
                </c:pt>
                <c:pt idx="2">
                  <c:v>ROHU + HUSKAT</c:v>
                </c:pt>
              </c:strCache>
            </c:strRef>
          </c:cat>
          <c:val>
            <c:numRef>
              <c:f>'Tabelle1 (3)'!$J$13:$J$15</c:f>
              <c:numCache>
                <c:formatCode>General</c:formatCode>
                <c:ptCount val="3"/>
                <c:pt idx="0">
                  <c:v>1058</c:v>
                </c:pt>
                <c:pt idx="1">
                  <c:v>1363</c:v>
                </c:pt>
                <c:pt idx="2" formatCode="0.0">
                  <c:v>8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380-41BD-BA39-ADF8611D9AF9}"/>
            </c:ext>
          </c:extLst>
        </c:ser>
        <c:ser>
          <c:idx val="1"/>
          <c:order val="1"/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Tabelle1 (3)'!$I$13:$I$15</c:f>
              <c:strCache>
                <c:ptCount val="3"/>
                <c:pt idx="0">
                  <c:v>ROHUAT</c:v>
                </c:pt>
                <c:pt idx="1">
                  <c:v>ROHU + HUAT</c:v>
                </c:pt>
                <c:pt idx="2">
                  <c:v>ROHU + HUSKAT</c:v>
                </c:pt>
              </c:strCache>
            </c:strRef>
          </c:cat>
          <c:val>
            <c:numRef>
              <c:f>'Tabelle1 (3)'!$K$13:$K$15</c:f>
              <c:numCache>
                <c:formatCode>General</c:formatCode>
                <c:ptCount val="3"/>
                <c:pt idx="2" formatCode="0.0">
                  <c:v>182.1991658935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380-41BD-BA39-ADF8611D9AF9}"/>
            </c:ext>
          </c:extLst>
        </c:ser>
        <c:ser>
          <c:idx val="2"/>
          <c:order val="2"/>
          <c:spPr>
            <a:gradFill rotWithShape="1">
              <a:gsLst>
                <a:gs pos="0">
                  <a:schemeClr val="accent3">
                    <a:satMod val="103000"/>
                    <a:lumMod val="102000"/>
                    <a:tint val="94000"/>
                  </a:schemeClr>
                </a:gs>
                <a:gs pos="50000">
                  <a:schemeClr val="accent3">
                    <a:satMod val="110000"/>
                    <a:lumMod val="100000"/>
                    <a:shade val="100000"/>
                  </a:schemeClr>
                </a:gs>
                <a:gs pos="100000">
                  <a:schemeClr val="accent3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Tabelle1 (3)'!$I$13:$I$15</c:f>
              <c:strCache>
                <c:ptCount val="3"/>
                <c:pt idx="0">
                  <c:v>ROHUAT</c:v>
                </c:pt>
                <c:pt idx="1">
                  <c:v>ROHU + HUAT</c:v>
                </c:pt>
                <c:pt idx="2">
                  <c:v>ROHU + HUSKAT</c:v>
                </c:pt>
              </c:strCache>
            </c:strRef>
          </c:cat>
          <c:val>
            <c:numRef>
              <c:f>'Tabelle1 (3)'!$L$13:$L$15</c:f>
              <c:numCache>
                <c:formatCode>General</c:formatCode>
                <c:ptCount val="3"/>
                <c:pt idx="2" formatCode="0.0">
                  <c:v>74.5550297247960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380-41BD-BA39-ADF8611D9AF9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461071248"/>
        <c:axId val="559193184"/>
      </c:barChart>
      <c:catAx>
        <c:axId val="46107124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lt1">
                <a:lumMod val="95000"/>
                <a:alpha val="54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559193184"/>
        <c:crosses val="autoZero"/>
        <c:auto val="1"/>
        <c:lblAlgn val="ctr"/>
        <c:lblOffset val="100"/>
        <c:noMultiLvlLbl val="0"/>
      </c:catAx>
      <c:valAx>
        <c:axId val="55919318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610712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8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9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18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9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304">
  <cs:axisTitle>
    <cs:lnRef idx="0"/>
    <cs:fillRef idx="0"/>
    <cs:effectRef idx="0"/>
    <cs:fontRef idx="minor">
      <a:schemeClr val="lt1">
        <a:lumMod val="85000"/>
      </a:schemeClr>
    </cs:fontRef>
    <cs:defRPr sz="900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000" kern="1200"/>
  </cs:chartArea>
  <cs:dataLabel>
    <cs:lnRef idx="0"/>
    <cs:fillRef idx="0"/>
    <cs:effectRef idx="0"/>
    <cs:fontRef idx="minor">
      <a:schemeClr val="lt1">
        <a:lumMod val="8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900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1600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900" kern="1200"/>
  </cs:valueAxis>
  <cs:wall>
    <cs:lnRef idx="0"/>
    <cs:fillRef idx="0"/>
    <cs:effectRef idx="0"/>
    <cs:fontRef idx="minor">
      <a:schemeClr val="tx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CF5D56-327A-43CF-BEE1-725231320A40}" type="datetimeFigureOut">
              <a:rPr lang="de-DE" smtClean="0"/>
              <a:t>08.06.2018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B0655C-32E6-41D9-9303-233B0CBBBB2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87558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6332"/>
          </a:xfrm>
          <a:prstGeom prst="rect">
            <a:avLst/>
          </a:prstGeom>
        </p:spPr>
        <p:txBody>
          <a:bodyPr vert="horz" lIns="91413" tIns="45706" rIns="91413" bIns="45706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6332"/>
          </a:xfrm>
          <a:prstGeom prst="rect">
            <a:avLst/>
          </a:prstGeom>
        </p:spPr>
        <p:txBody>
          <a:bodyPr vert="horz" lIns="91413" tIns="45706" rIns="91413" bIns="45706" rtlCol="0"/>
          <a:lstStyle>
            <a:lvl1pPr algn="r">
              <a:defRPr sz="1200"/>
            </a:lvl1pPr>
          </a:lstStyle>
          <a:p>
            <a:fld id="{93CFE237-840E-452E-B600-C4B5ED2D8040}" type="datetimeFigureOut">
              <a:rPr lang="en-GB" smtClean="0"/>
              <a:t>08/06/2018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13" tIns="45706" rIns="91413" bIns="45706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13" tIns="45706" rIns="91413" bIns="45706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6332"/>
          </a:xfrm>
          <a:prstGeom prst="rect">
            <a:avLst/>
          </a:prstGeom>
        </p:spPr>
        <p:txBody>
          <a:bodyPr vert="horz" lIns="91413" tIns="45706" rIns="91413" bIns="45706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6332"/>
          </a:xfrm>
          <a:prstGeom prst="rect">
            <a:avLst/>
          </a:prstGeom>
        </p:spPr>
        <p:txBody>
          <a:bodyPr vert="horz" lIns="91413" tIns="45706" rIns="91413" bIns="45706" rtlCol="0" anchor="b"/>
          <a:lstStyle>
            <a:lvl1pPr algn="r">
              <a:defRPr sz="1200"/>
            </a:lvl1pPr>
          </a:lstStyle>
          <a:p>
            <a:fld id="{A1DA138A-303C-4971-9B82-A90D71EC9729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24429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DA138A-303C-4971-9B82-A90D71EC9729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498371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DA138A-303C-4971-9B82-A90D71EC9729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616653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DA138A-303C-4971-9B82-A90D71EC9729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94748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DA138A-303C-4971-9B82-A90D71EC9729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028622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DA138A-303C-4971-9B82-A90D71EC9729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342718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DA138A-303C-4971-9B82-A90D71EC9729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925681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DA138A-303C-4971-9B82-A90D71EC9729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763859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DA138A-303C-4971-9B82-A90D71EC9729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337841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DA138A-303C-4971-9B82-A90D71EC9729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788725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Offer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: IP </a:t>
            </a:r>
            <a:r>
              <a:rPr lang="de-DE" dirty="0" err="1"/>
              <a:t>Velke</a:t>
            </a:r>
            <a:r>
              <a:rPr lang="de-DE" dirty="0"/>
              <a:t> </a:t>
            </a:r>
            <a:r>
              <a:rPr lang="de-DE" dirty="0" err="1"/>
              <a:t>Zlievce</a:t>
            </a:r>
            <a:r>
              <a:rPr lang="de-DE" dirty="0"/>
              <a:t> 5.724.000 kWh/h/a                    IP </a:t>
            </a:r>
            <a:r>
              <a:rPr lang="de-DE" dirty="0" err="1"/>
              <a:t>baumgarten</a:t>
            </a:r>
            <a:r>
              <a:rPr lang="de-DE" dirty="0"/>
              <a:t> 4.648.063 kWh/h/a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DA138A-303C-4971-9B82-A90D71EC9729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407361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DA138A-303C-4971-9B82-A90D71EC9729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7281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DA138A-303C-4971-9B82-A90D71EC9729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468103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DA138A-303C-4971-9B82-A90D71EC9729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334322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DA138A-303C-4971-9B82-A90D71EC9729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160311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DA138A-303C-4971-9B82-A90D71EC9729}" type="slidenum">
              <a:rPr lang="en-GB" smtClean="0"/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2786754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USKAT Shipper Meeting, 05.06.2018, Budapest</a:t>
            </a:r>
          </a:p>
          <a:p>
            <a:r>
              <a:rPr lang="en-US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oolebook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ready for end of June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ustomer registration closing 10 August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conomic test 1 : 28 September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ep back right  by 28 December </a:t>
            </a:r>
            <a:endParaRPr lang="de-DE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DA138A-303C-4971-9B82-A90D71EC9729}" type="slidenum">
              <a:rPr lang="en-GB" smtClean="0"/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576683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DA138A-303C-4971-9B82-A90D71EC9729}" type="slidenum">
              <a:rPr lang="en-GB" smtClean="0"/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036674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DA138A-303C-4971-9B82-A90D71EC9729}" type="slidenum">
              <a:rPr lang="en-GB" smtClean="0"/>
              <a:t>2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103024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DA138A-303C-4971-9B82-A90D71EC9729}" type="slidenum">
              <a:rPr lang="en-GB" smtClean="0"/>
              <a:t>2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792943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DA138A-303C-4971-9B82-A90D71EC9729}" type="slidenum">
              <a:rPr lang="en-GB" smtClean="0"/>
              <a:t>2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799051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DA138A-303C-4971-9B82-A90D71EC9729}" type="slidenum">
              <a:rPr lang="en-GB" smtClean="0"/>
              <a:t>2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452683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DA138A-303C-4971-9B82-A90D71EC9729}" type="slidenum">
              <a:rPr lang="en-GB" smtClean="0"/>
              <a:t>3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5657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DA138A-303C-4971-9B82-A90D71EC9729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23047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DA138A-303C-4971-9B82-A90D71EC9729}" type="slidenum">
              <a:rPr lang="en-GB" smtClean="0"/>
              <a:t>3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9405292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DA138A-303C-4971-9B82-A90D71EC9729}" type="slidenum">
              <a:rPr lang="en-GB" smtClean="0"/>
              <a:t>3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1823262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DA138A-303C-4971-9B82-A90D71EC9729}" type="slidenum">
              <a:rPr lang="en-GB" smtClean="0"/>
              <a:t>3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232742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DA138A-303C-4971-9B82-A90D71EC9729}" type="slidenum">
              <a:rPr lang="en-GB" smtClean="0"/>
              <a:t>3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11701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DA138A-303C-4971-9B82-A90D71EC9729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2300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DA138A-303C-4971-9B82-A90D71EC9729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10679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DA138A-303C-4971-9B82-A90D71EC9729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231896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DA138A-303C-4971-9B82-A90D71EC9729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84697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DA138A-303C-4971-9B82-A90D71EC9729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364234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DA138A-303C-4971-9B82-A90D71EC9729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22282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2.png"/><Relationship Id="rId2" Type="http://schemas.openxmlformats.org/officeDocument/2006/relationships/tags" Target="../tags/tag35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2.png"/><Relationship Id="rId2" Type="http://schemas.openxmlformats.org/officeDocument/2006/relationships/tags" Target="../tags/tag37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048375" y="4068000"/>
            <a:ext cx="2771774" cy="772288"/>
          </a:xfrm>
        </p:spPr>
        <p:txBody>
          <a:bodyPr lIns="0" tIns="0" rIns="0" bIns="0" anchor="ctr"/>
          <a:lstStyle>
            <a:lvl1pPr marL="0" indent="0" algn="r">
              <a:spcBef>
                <a:spcPts val="0"/>
              </a:spcBef>
              <a:buNone/>
              <a:defRPr sz="2000">
                <a:solidFill>
                  <a:schemeClr val="accent1"/>
                </a:solidFill>
                <a:latin typeface="+mj-lt"/>
                <a:cs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AT" noProof="0" dirty="0"/>
              <a:t>DD. MMMMM 2018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9144000" cy="4021281"/>
          </a:xfrm>
          <a:prstGeom prst="rect">
            <a:avLst/>
          </a:prstGeom>
          <a:solidFill>
            <a:srgbClr val="0066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350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0797" y="782052"/>
            <a:ext cx="3422406" cy="900000"/>
          </a:xfrm>
          <a:prstGeom prst="rect">
            <a:avLst/>
          </a:prstGeom>
        </p:spPr>
      </p:pic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>
          <a:xfrm>
            <a:off x="575556" y="2211710"/>
            <a:ext cx="7992888" cy="1203324"/>
          </a:xfrm>
        </p:spPr>
        <p:txBody>
          <a:bodyPr lIns="0" tIns="0" rIns="0" bIns="0" anchor="ctr" anchorCtr="1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de-DE" dirty="0"/>
              <a:t>Mustertitel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 hasCustomPrompt="1"/>
          </p:nvPr>
        </p:nvSpPr>
        <p:spPr>
          <a:xfrm>
            <a:off x="323850" y="4068764"/>
            <a:ext cx="5653088" cy="771524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200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AT" noProof="0" dirty="0"/>
              <a:t>Dr. Mag. Muster Mustermann</a:t>
            </a:r>
          </a:p>
        </p:txBody>
      </p:sp>
    </p:spTree>
    <p:extLst>
      <p:ext uri="{BB962C8B-B14F-4D97-AF65-F5344CB8AC3E}">
        <p14:creationId xmlns:p14="http://schemas.microsoft.com/office/powerpoint/2010/main" val="41144627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  <p15:guide id="4" pos="5556">
          <p15:clr>
            <a:srgbClr val="FBAE40"/>
          </p15:clr>
        </p15:guide>
        <p15:guide id="5" orient="horz" pos="3049">
          <p15:clr>
            <a:srgbClr val="FBAE40"/>
          </p15:clr>
        </p15:guide>
        <p15:guide id="6" orient="horz" pos="19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31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8496303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 - Muster</a:t>
            </a:r>
          </a:p>
          <a:p>
            <a:pPr lvl="2"/>
            <a:r>
              <a:rPr lang="de-DE" dirty="0"/>
              <a:t>Dritte Ebene - Muster</a:t>
            </a:r>
          </a:p>
          <a:p>
            <a:pPr lvl="3"/>
            <a:r>
              <a:rPr lang="de-DE" dirty="0"/>
              <a:t>Vierte Ebene - Muster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648100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ll - V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33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8496303" cy="3636962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1200"/>
              </a:spcBef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5618109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l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38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5653091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6048374" y="1058864"/>
            <a:ext cx="2772000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17921928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lr - V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40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5653091" cy="3636962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1200"/>
              </a:spcBef>
              <a:defRPr sz="1800" baseline="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 baseline="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 hasCustomPrompt="1"/>
          </p:nvPr>
        </p:nvSpPr>
        <p:spPr>
          <a:xfrm>
            <a:off x="6048374" y="1058864"/>
            <a:ext cx="2772000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12707081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r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43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8" y="1058864"/>
            <a:ext cx="2771778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3167063" y="1058864"/>
            <a:ext cx="5653311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41113245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rr - V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45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8" y="1058864"/>
            <a:ext cx="2771778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3167063" y="1058864"/>
            <a:ext cx="5653311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212500607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8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4176145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aseline="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4644008" y="1058864"/>
            <a:ext cx="4176366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21299251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r - V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50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4176145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aseline="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4644008" y="1058864"/>
            <a:ext cx="4176366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9551557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m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52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2772000" cy="3637756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6048373" y="1058864"/>
            <a:ext cx="2772000" cy="3637756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0" name="Inhaltsplatzhalter 7"/>
          <p:cNvSpPr>
            <a:spLocks noGrp="1"/>
          </p:cNvSpPr>
          <p:nvPr>
            <p:ph sz="quarter" idx="13" hasCustomPrompt="1"/>
          </p:nvPr>
        </p:nvSpPr>
        <p:spPr>
          <a:xfrm>
            <a:off x="3168000" y="1058864"/>
            <a:ext cx="2805115" cy="3637756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4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71511671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mr - V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55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2772000" cy="3637756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 hasCustomPrompt="1"/>
          </p:nvPr>
        </p:nvSpPr>
        <p:spPr>
          <a:xfrm>
            <a:off x="6048373" y="1058864"/>
            <a:ext cx="2772000" cy="3637756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0" name="Inhaltsplatzhalter 7"/>
          <p:cNvSpPr>
            <a:spLocks noGrp="1"/>
          </p:cNvSpPr>
          <p:nvPr>
            <p:ph sz="quarter" idx="13" hasCustomPrompt="1"/>
          </p:nvPr>
        </p:nvSpPr>
        <p:spPr>
          <a:xfrm>
            <a:off x="3168000" y="1058864"/>
            <a:ext cx="2805115" cy="3637756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4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25718339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- E-Contr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12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2600" noProof="0" dirty="0">
              <a:solidFill>
                <a:schemeClr val="bg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27895" y="3115604"/>
            <a:ext cx="6488210" cy="1319381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2600">
                <a:solidFill>
                  <a:srgbClr val="0066A9"/>
                </a:solidFill>
              </a:defRPr>
            </a:lvl1pPr>
          </a:lstStyle>
          <a:p>
            <a:pPr lvl="0"/>
            <a:r>
              <a:rPr lang="de-DE" altLang="de-DE" noProof="0"/>
              <a:t>Master-Untertitelformat bearbeiten</a:t>
            </a:r>
            <a:endParaRPr lang="de-AT" altLang="de-DE" noProof="0" dirty="0"/>
          </a:p>
        </p:txBody>
      </p:sp>
      <p:grpSp>
        <p:nvGrpSpPr>
          <p:cNvPr id="14" name="Gruppieren 13"/>
          <p:cNvGrpSpPr>
            <a:grpSpLocks noChangeAspect="1"/>
          </p:cNvGrpSpPr>
          <p:nvPr userDrawn="1"/>
        </p:nvGrpSpPr>
        <p:grpSpPr>
          <a:xfrm>
            <a:off x="3927377" y="1401602"/>
            <a:ext cx="1289247" cy="1332000"/>
            <a:chOff x="467544" y="1660398"/>
            <a:chExt cx="1764196" cy="1822704"/>
          </a:xfrm>
        </p:grpSpPr>
        <p:pic>
          <p:nvPicPr>
            <p:cNvPr id="15" name="Grafik 14"/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4547"/>
            <a:stretch/>
          </p:blipFill>
          <p:spPr>
            <a:xfrm>
              <a:off x="467544" y="1660398"/>
              <a:ext cx="1764196" cy="1822704"/>
            </a:xfrm>
            <a:prstGeom prst="rect">
              <a:avLst/>
            </a:prstGeom>
          </p:spPr>
        </p:pic>
        <p:sp>
          <p:nvSpPr>
            <p:cNvPr id="16" name="Rechteck 15"/>
            <p:cNvSpPr/>
            <p:nvPr userDrawn="1"/>
          </p:nvSpPr>
          <p:spPr>
            <a:xfrm>
              <a:off x="1943708" y="2374474"/>
              <a:ext cx="288032" cy="2411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tlCol="0" anchor="t"/>
            <a:lstStyle/>
            <a:p>
              <a:pPr algn="ctr"/>
              <a:endParaRPr lang="de-DE" dirty="0">
                <a:solidFill>
                  <a:srgbClr val="0066A9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663332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mr^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57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2600" noProof="0" dirty="0">
              <a:solidFill>
                <a:schemeClr val="bg1"/>
              </a:solidFill>
            </a:endParaRPr>
          </a:p>
        </p:txBody>
      </p:sp>
      <p:sp>
        <p:nvSpPr>
          <p:cNvPr id="10" name="Inhaltsplatzhalter 7"/>
          <p:cNvSpPr>
            <a:spLocks noGrp="1"/>
          </p:cNvSpPr>
          <p:nvPr>
            <p:ph sz="quarter" idx="13" hasCustomPrompt="1"/>
          </p:nvPr>
        </p:nvSpPr>
        <p:spPr>
          <a:xfrm>
            <a:off x="324000" y="1058400"/>
            <a:ext cx="2772000" cy="1152988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3" name="Inhaltsplatzhalter 7"/>
          <p:cNvSpPr>
            <a:spLocks noGrp="1"/>
          </p:cNvSpPr>
          <p:nvPr>
            <p:ph sz="quarter" idx="14" hasCustomPrompt="1"/>
          </p:nvPr>
        </p:nvSpPr>
        <p:spPr>
          <a:xfrm>
            <a:off x="323625" y="2290490"/>
            <a:ext cx="2772000" cy="1144859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4" name="Inhaltsplatzhalter 7"/>
          <p:cNvSpPr>
            <a:spLocks noGrp="1"/>
          </p:cNvSpPr>
          <p:nvPr>
            <p:ph sz="quarter" idx="15" hasCustomPrompt="1"/>
          </p:nvPr>
        </p:nvSpPr>
        <p:spPr>
          <a:xfrm>
            <a:off x="323403" y="3514627"/>
            <a:ext cx="2772000" cy="1181198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5" name="Inhaltsplatzhalter 7"/>
          <p:cNvSpPr>
            <a:spLocks noGrp="1"/>
          </p:cNvSpPr>
          <p:nvPr>
            <p:ph sz="quarter" idx="16" hasCustomPrompt="1"/>
          </p:nvPr>
        </p:nvSpPr>
        <p:spPr>
          <a:xfrm>
            <a:off x="3174773" y="1058400"/>
            <a:ext cx="2802165" cy="1152988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6" name="Inhaltsplatzhalter 7"/>
          <p:cNvSpPr>
            <a:spLocks noGrp="1"/>
          </p:cNvSpPr>
          <p:nvPr>
            <p:ph sz="quarter" idx="17" hasCustomPrompt="1"/>
          </p:nvPr>
        </p:nvSpPr>
        <p:spPr>
          <a:xfrm>
            <a:off x="3174773" y="2290490"/>
            <a:ext cx="2802165" cy="1144859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0" name="Inhaltsplatzhalter 7"/>
          <p:cNvSpPr>
            <a:spLocks noGrp="1"/>
          </p:cNvSpPr>
          <p:nvPr>
            <p:ph sz="quarter" idx="18" hasCustomPrompt="1"/>
          </p:nvPr>
        </p:nvSpPr>
        <p:spPr>
          <a:xfrm>
            <a:off x="3174773" y="3514627"/>
            <a:ext cx="2802165" cy="1181198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1" name="Inhaltsplatzhalter 7"/>
          <p:cNvSpPr>
            <a:spLocks noGrp="1"/>
          </p:cNvSpPr>
          <p:nvPr>
            <p:ph sz="quarter" idx="19" hasCustomPrompt="1"/>
          </p:nvPr>
        </p:nvSpPr>
        <p:spPr>
          <a:xfrm>
            <a:off x="6054923" y="1058400"/>
            <a:ext cx="2765227" cy="1152988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2" name="Inhaltsplatzhalter 7"/>
          <p:cNvSpPr>
            <a:spLocks noGrp="1"/>
          </p:cNvSpPr>
          <p:nvPr>
            <p:ph sz="quarter" idx="20" hasCustomPrompt="1"/>
          </p:nvPr>
        </p:nvSpPr>
        <p:spPr>
          <a:xfrm>
            <a:off x="6054923" y="2290490"/>
            <a:ext cx="2765227" cy="1144859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3" name="Inhaltsplatzhalter 7"/>
          <p:cNvSpPr>
            <a:spLocks noGrp="1"/>
          </p:cNvSpPr>
          <p:nvPr>
            <p:ph sz="quarter" idx="21" hasCustomPrompt="1"/>
          </p:nvPr>
        </p:nvSpPr>
        <p:spPr>
          <a:xfrm>
            <a:off x="6054923" y="3514627"/>
            <a:ext cx="2765227" cy="1181198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24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26281471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_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 userDrawn="1"/>
        </p:nvSpPr>
        <p:spPr>
          <a:xfrm>
            <a:off x="3178" y="2382"/>
            <a:ext cx="9140822" cy="5141118"/>
          </a:xfrm>
          <a:prstGeom prst="rect">
            <a:avLst/>
          </a:prstGeom>
          <a:solidFill>
            <a:srgbClr val="0066A9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86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2836528" y="2130720"/>
            <a:ext cx="3565178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>
              <a:defRPr sz="1600" b="1" cap="sm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AT" noProof="0" dirty="0"/>
              <a:t>Titel Vorname Name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4283967" y="2511391"/>
            <a:ext cx="2117737" cy="307777"/>
          </a:xfrm>
          <a:prstGeom prst="rect">
            <a:avLst/>
          </a:prstGeom>
        </p:spPr>
        <p:txBody>
          <a:bodyPr lIns="36000" anchor="ctr">
            <a:noAutofit/>
          </a:bodyPr>
          <a:lstStyle>
            <a:lvl1pPr>
              <a:defRPr sz="1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DW</a:t>
            </a:r>
          </a:p>
        </p:txBody>
      </p:sp>
      <p:sp>
        <p:nvSpPr>
          <p:cNvPr id="12" name="Textfeld 11"/>
          <p:cNvSpPr txBox="1"/>
          <p:nvPr userDrawn="1"/>
        </p:nvSpPr>
        <p:spPr>
          <a:xfrm>
            <a:off x="3329070" y="2511391"/>
            <a:ext cx="911613" cy="3077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+43 1 24724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17" name="Inhaltsplatzhalter 2"/>
          <p:cNvSpPr>
            <a:spLocks noGrp="1"/>
          </p:cNvSpPr>
          <p:nvPr>
            <p:ph idx="14" hasCustomPrompt="1"/>
          </p:nvPr>
        </p:nvSpPr>
        <p:spPr>
          <a:xfrm>
            <a:off x="3329071" y="2853637"/>
            <a:ext cx="3072634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vorname.nachname@e-control.at</a:t>
            </a:r>
          </a:p>
        </p:txBody>
      </p:sp>
      <p:sp>
        <p:nvSpPr>
          <p:cNvPr id="18" name="Textfeld 17"/>
          <p:cNvSpPr txBox="1"/>
          <p:nvPr userDrawn="1"/>
        </p:nvSpPr>
        <p:spPr>
          <a:xfrm>
            <a:off x="3329075" y="3205304"/>
            <a:ext cx="3072632" cy="3077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www.e-control.at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2757091" y="2480613"/>
            <a:ext cx="4347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1800" dirty="0">
                <a:solidFill>
                  <a:schemeClr val="bg1"/>
                </a:solidFill>
                <a:sym typeface="Wingdings 2" pitchFamily="18" charset="2"/>
              </a:rPr>
              <a:t>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0" name="Rechteck 19"/>
          <p:cNvSpPr/>
          <p:nvPr userDrawn="1"/>
        </p:nvSpPr>
        <p:spPr>
          <a:xfrm>
            <a:off x="2751480" y="2822859"/>
            <a:ext cx="4459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ingdings" pitchFamily="2" charset="2"/>
              </a:rPr>
              <a:t>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1" name="Rechteck 20"/>
          <p:cNvSpPr/>
          <p:nvPr userDrawn="1"/>
        </p:nvSpPr>
        <p:spPr>
          <a:xfrm>
            <a:off x="2766709" y="3174526"/>
            <a:ext cx="4154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ebdings" pitchFamily="18" charset="2"/>
              </a:rPr>
              <a:t></a:t>
            </a: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1200" y="273600"/>
            <a:ext cx="1642756" cy="432000"/>
          </a:xfrm>
          <a:prstGeom prst="rect">
            <a:avLst/>
          </a:prstGeom>
        </p:spPr>
      </p:pic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3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3096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Kontakt</a:t>
            </a:r>
          </a:p>
        </p:txBody>
      </p:sp>
    </p:spTree>
    <p:extLst>
      <p:ext uri="{BB962C8B-B14F-4D97-AF65-F5344CB8AC3E}">
        <p14:creationId xmlns:p14="http://schemas.microsoft.com/office/powerpoint/2010/main" val="38206788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  <p15:guide id="4" pos="5556">
          <p15:clr>
            <a:srgbClr val="FBAE40"/>
          </p15:clr>
        </p15:guide>
        <p15:guide id="5" orient="horz" pos="690">
          <p15:clr>
            <a:srgbClr val="FBAE40"/>
          </p15:clr>
        </p15:guide>
        <p15:guide id="6" orient="horz" pos="295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_DE_mul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 userDrawn="1"/>
        </p:nvSpPr>
        <p:spPr>
          <a:xfrm>
            <a:off x="3178" y="2382"/>
            <a:ext cx="9140822" cy="5141118"/>
          </a:xfrm>
          <a:prstGeom prst="rect">
            <a:avLst/>
          </a:prstGeom>
          <a:solidFill>
            <a:srgbClr val="0066A9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62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1200" y="273600"/>
            <a:ext cx="1642756" cy="432000"/>
          </a:xfrm>
          <a:prstGeom prst="rect">
            <a:avLst/>
          </a:prstGeom>
        </p:spPr>
      </p:pic>
      <p:sp>
        <p:nvSpPr>
          <p:cNvPr id="2" name="Datumsplatzhalter 1"/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9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3096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Kontakt</a:t>
            </a:r>
          </a:p>
        </p:txBody>
      </p:sp>
      <p:sp>
        <p:nvSpPr>
          <p:cNvPr id="50" name="Inhaltsplatzhalter 2"/>
          <p:cNvSpPr>
            <a:spLocks noGrp="1"/>
          </p:cNvSpPr>
          <p:nvPr>
            <p:ph idx="1" hasCustomPrompt="1"/>
          </p:nvPr>
        </p:nvSpPr>
        <p:spPr>
          <a:xfrm>
            <a:off x="663072" y="1203598"/>
            <a:ext cx="3565178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>
              <a:defRPr sz="1600" b="1" cap="sm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AT" noProof="0" dirty="0"/>
              <a:t>Titel Vorname Name</a:t>
            </a:r>
          </a:p>
        </p:txBody>
      </p:sp>
      <p:sp>
        <p:nvSpPr>
          <p:cNvPr id="51" name="Inhaltsplatzhalter 2"/>
          <p:cNvSpPr>
            <a:spLocks noGrp="1"/>
          </p:cNvSpPr>
          <p:nvPr>
            <p:ph idx="13" hasCustomPrompt="1"/>
          </p:nvPr>
        </p:nvSpPr>
        <p:spPr>
          <a:xfrm>
            <a:off x="2123727" y="1584269"/>
            <a:ext cx="2104521" cy="307777"/>
          </a:xfrm>
          <a:prstGeom prst="rect">
            <a:avLst/>
          </a:prstGeom>
        </p:spPr>
        <p:txBody>
          <a:bodyPr lIns="36000" anchor="ctr">
            <a:noAutofit/>
          </a:bodyPr>
          <a:lstStyle>
            <a:lvl1pPr>
              <a:defRPr sz="1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DW</a:t>
            </a:r>
          </a:p>
        </p:txBody>
      </p:sp>
      <p:sp>
        <p:nvSpPr>
          <p:cNvPr id="52" name="Textfeld 51"/>
          <p:cNvSpPr txBox="1"/>
          <p:nvPr userDrawn="1"/>
        </p:nvSpPr>
        <p:spPr>
          <a:xfrm>
            <a:off x="1155614" y="1584269"/>
            <a:ext cx="911613" cy="3077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+43 1 24724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53" name="Inhaltsplatzhalter 2"/>
          <p:cNvSpPr>
            <a:spLocks noGrp="1"/>
          </p:cNvSpPr>
          <p:nvPr>
            <p:ph idx="14" hasCustomPrompt="1"/>
          </p:nvPr>
        </p:nvSpPr>
        <p:spPr>
          <a:xfrm>
            <a:off x="1155615" y="1926515"/>
            <a:ext cx="3072634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vorname.nachname@e-control.at</a:t>
            </a:r>
          </a:p>
        </p:txBody>
      </p:sp>
      <p:sp>
        <p:nvSpPr>
          <p:cNvPr id="54" name="Textfeld 53"/>
          <p:cNvSpPr txBox="1"/>
          <p:nvPr userDrawn="1"/>
        </p:nvSpPr>
        <p:spPr>
          <a:xfrm>
            <a:off x="1155619" y="2278182"/>
            <a:ext cx="3072632" cy="3077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www.e-control.at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55" name="Rechteck 54"/>
          <p:cNvSpPr/>
          <p:nvPr userDrawn="1"/>
        </p:nvSpPr>
        <p:spPr>
          <a:xfrm>
            <a:off x="583635" y="1553491"/>
            <a:ext cx="4347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1800" dirty="0">
                <a:solidFill>
                  <a:schemeClr val="bg1"/>
                </a:solidFill>
                <a:sym typeface="Wingdings 2" pitchFamily="18" charset="2"/>
              </a:rPr>
              <a:t>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6" name="Rechteck 55"/>
          <p:cNvSpPr/>
          <p:nvPr userDrawn="1"/>
        </p:nvSpPr>
        <p:spPr>
          <a:xfrm>
            <a:off x="578024" y="1895737"/>
            <a:ext cx="4459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ingdings" pitchFamily="2" charset="2"/>
              </a:rPr>
              <a:t>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7" name="Rechteck 56"/>
          <p:cNvSpPr/>
          <p:nvPr userDrawn="1"/>
        </p:nvSpPr>
        <p:spPr>
          <a:xfrm>
            <a:off x="593253" y="2247404"/>
            <a:ext cx="4154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ebdings" pitchFamily="18" charset="2"/>
              </a:rPr>
              <a:t>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8" name="Inhaltsplatzhalter 2"/>
          <p:cNvSpPr>
            <a:spLocks noGrp="1"/>
          </p:cNvSpPr>
          <p:nvPr>
            <p:ph idx="27" hasCustomPrompt="1"/>
          </p:nvPr>
        </p:nvSpPr>
        <p:spPr>
          <a:xfrm>
            <a:off x="661294" y="3069252"/>
            <a:ext cx="3565178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>
              <a:defRPr sz="1600" b="1" cap="sm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AT" noProof="0" dirty="0"/>
              <a:t>Titel Vorname Name</a:t>
            </a:r>
          </a:p>
        </p:txBody>
      </p:sp>
      <p:sp>
        <p:nvSpPr>
          <p:cNvPr id="59" name="Inhaltsplatzhalter 2"/>
          <p:cNvSpPr>
            <a:spLocks noGrp="1"/>
          </p:cNvSpPr>
          <p:nvPr>
            <p:ph idx="28" hasCustomPrompt="1"/>
          </p:nvPr>
        </p:nvSpPr>
        <p:spPr>
          <a:xfrm>
            <a:off x="2123727" y="3449923"/>
            <a:ext cx="2102744" cy="307777"/>
          </a:xfrm>
          <a:prstGeom prst="rect">
            <a:avLst/>
          </a:prstGeom>
        </p:spPr>
        <p:txBody>
          <a:bodyPr lIns="36000" anchor="ctr">
            <a:noAutofit/>
          </a:bodyPr>
          <a:lstStyle>
            <a:lvl1pPr>
              <a:defRPr sz="1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DW</a:t>
            </a:r>
          </a:p>
        </p:txBody>
      </p:sp>
      <p:sp>
        <p:nvSpPr>
          <p:cNvPr id="60" name="Textfeld 59"/>
          <p:cNvSpPr txBox="1"/>
          <p:nvPr userDrawn="1"/>
        </p:nvSpPr>
        <p:spPr>
          <a:xfrm>
            <a:off x="1153836" y="3449923"/>
            <a:ext cx="911613" cy="3077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+43 1 24724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61" name="Inhaltsplatzhalter 2"/>
          <p:cNvSpPr>
            <a:spLocks noGrp="1"/>
          </p:cNvSpPr>
          <p:nvPr>
            <p:ph idx="29" hasCustomPrompt="1"/>
          </p:nvPr>
        </p:nvSpPr>
        <p:spPr>
          <a:xfrm>
            <a:off x="1153837" y="3792169"/>
            <a:ext cx="3072634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vorname.nachname@e-control.at</a:t>
            </a:r>
          </a:p>
        </p:txBody>
      </p:sp>
      <p:sp>
        <p:nvSpPr>
          <p:cNvPr id="62" name="Textfeld 61"/>
          <p:cNvSpPr txBox="1"/>
          <p:nvPr userDrawn="1"/>
        </p:nvSpPr>
        <p:spPr>
          <a:xfrm>
            <a:off x="1153841" y="4143836"/>
            <a:ext cx="3072632" cy="3077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www.e-control.at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63" name="Rechteck 62"/>
          <p:cNvSpPr/>
          <p:nvPr userDrawn="1"/>
        </p:nvSpPr>
        <p:spPr>
          <a:xfrm>
            <a:off x="581857" y="3419145"/>
            <a:ext cx="4347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1800" dirty="0">
                <a:solidFill>
                  <a:schemeClr val="bg1"/>
                </a:solidFill>
                <a:sym typeface="Wingdings 2" pitchFamily="18" charset="2"/>
              </a:rPr>
              <a:t>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4" name="Rechteck 63"/>
          <p:cNvSpPr/>
          <p:nvPr userDrawn="1"/>
        </p:nvSpPr>
        <p:spPr>
          <a:xfrm>
            <a:off x="576246" y="3761391"/>
            <a:ext cx="4459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ingdings" pitchFamily="2" charset="2"/>
              </a:rPr>
              <a:t>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5" name="Rechteck 64"/>
          <p:cNvSpPr/>
          <p:nvPr userDrawn="1"/>
        </p:nvSpPr>
        <p:spPr>
          <a:xfrm>
            <a:off x="591475" y="4113058"/>
            <a:ext cx="4154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ebdings" pitchFamily="18" charset="2"/>
              </a:rPr>
              <a:t>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6" name="Inhaltsplatzhalter 2"/>
          <p:cNvSpPr>
            <a:spLocks noGrp="1"/>
          </p:cNvSpPr>
          <p:nvPr>
            <p:ph idx="30" hasCustomPrompt="1"/>
          </p:nvPr>
        </p:nvSpPr>
        <p:spPr>
          <a:xfrm>
            <a:off x="4909988" y="1203598"/>
            <a:ext cx="3565178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>
              <a:defRPr sz="1600" b="1" cap="sm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AT" noProof="0" dirty="0"/>
              <a:t>Titel Vorname Name</a:t>
            </a:r>
          </a:p>
        </p:txBody>
      </p:sp>
      <p:sp>
        <p:nvSpPr>
          <p:cNvPr id="67" name="Inhaltsplatzhalter 2"/>
          <p:cNvSpPr>
            <a:spLocks noGrp="1"/>
          </p:cNvSpPr>
          <p:nvPr>
            <p:ph idx="31" hasCustomPrompt="1"/>
          </p:nvPr>
        </p:nvSpPr>
        <p:spPr>
          <a:xfrm>
            <a:off x="6372199" y="1584269"/>
            <a:ext cx="2102965" cy="307777"/>
          </a:xfrm>
          <a:prstGeom prst="rect">
            <a:avLst/>
          </a:prstGeom>
        </p:spPr>
        <p:txBody>
          <a:bodyPr lIns="36000" anchor="ctr">
            <a:noAutofit/>
          </a:bodyPr>
          <a:lstStyle>
            <a:lvl1pPr>
              <a:defRPr sz="1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DW</a:t>
            </a:r>
          </a:p>
        </p:txBody>
      </p:sp>
      <p:sp>
        <p:nvSpPr>
          <p:cNvPr id="68" name="Textfeld 67"/>
          <p:cNvSpPr txBox="1"/>
          <p:nvPr userDrawn="1"/>
        </p:nvSpPr>
        <p:spPr>
          <a:xfrm>
            <a:off x="5402530" y="1584269"/>
            <a:ext cx="911613" cy="3077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+43 1 24724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69" name="Inhaltsplatzhalter 2"/>
          <p:cNvSpPr>
            <a:spLocks noGrp="1"/>
          </p:cNvSpPr>
          <p:nvPr>
            <p:ph idx="32" hasCustomPrompt="1"/>
          </p:nvPr>
        </p:nvSpPr>
        <p:spPr>
          <a:xfrm>
            <a:off x="5402531" y="1926515"/>
            <a:ext cx="3072634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vorname.nachname@e-control.at</a:t>
            </a:r>
          </a:p>
        </p:txBody>
      </p:sp>
      <p:sp>
        <p:nvSpPr>
          <p:cNvPr id="70" name="Textfeld 69"/>
          <p:cNvSpPr txBox="1"/>
          <p:nvPr userDrawn="1"/>
        </p:nvSpPr>
        <p:spPr>
          <a:xfrm>
            <a:off x="5402535" y="2278182"/>
            <a:ext cx="3072632" cy="3077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www.e-control.at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71" name="Rechteck 70"/>
          <p:cNvSpPr/>
          <p:nvPr userDrawn="1"/>
        </p:nvSpPr>
        <p:spPr>
          <a:xfrm>
            <a:off x="4830551" y="1553491"/>
            <a:ext cx="4347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1800" dirty="0">
                <a:solidFill>
                  <a:schemeClr val="bg1"/>
                </a:solidFill>
                <a:sym typeface="Wingdings 2" pitchFamily="18" charset="2"/>
              </a:rPr>
              <a:t>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2" name="Rechteck 71"/>
          <p:cNvSpPr/>
          <p:nvPr userDrawn="1"/>
        </p:nvSpPr>
        <p:spPr>
          <a:xfrm>
            <a:off x="4824940" y="1895737"/>
            <a:ext cx="4459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ingdings" pitchFamily="2" charset="2"/>
              </a:rPr>
              <a:t>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3" name="Rechteck 72"/>
          <p:cNvSpPr/>
          <p:nvPr userDrawn="1"/>
        </p:nvSpPr>
        <p:spPr>
          <a:xfrm>
            <a:off x="4840169" y="2247404"/>
            <a:ext cx="4154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ebdings" pitchFamily="18" charset="2"/>
              </a:rPr>
              <a:t>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4" name="Inhaltsplatzhalter 2"/>
          <p:cNvSpPr>
            <a:spLocks noGrp="1"/>
          </p:cNvSpPr>
          <p:nvPr>
            <p:ph idx="33" hasCustomPrompt="1"/>
          </p:nvPr>
        </p:nvSpPr>
        <p:spPr>
          <a:xfrm>
            <a:off x="4908210" y="3069252"/>
            <a:ext cx="3565178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>
              <a:defRPr sz="1600" b="1" cap="sm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AT" noProof="0" dirty="0"/>
              <a:t>Titel Vorname Name</a:t>
            </a:r>
          </a:p>
        </p:txBody>
      </p:sp>
      <p:sp>
        <p:nvSpPr>
          <p:cNvPr id="75" name="Inhaltsplatzhalter 2"/>
          <p:cNvSpPr>
            <a:spLocks noGrp="1"/>
          </p:cNvSpPr>
          <p:nvPr>
            <p:ph idx="34" hasCustomPrompt="1"/>
          </p:nvPr>
        </p:nvSpPr>
        <p:spPr>
          <a:xfrm>
            <a:off x="6372199" y="3449923"/>
            <a:ext cx="2101188" cy="307777"/>
          </a:xfrm>
          <a:prstGeom prst="rect">
            <a:avLst/>
          </a:prstGeom>
        </p:spPr>
        <p:txBody>
          <a:bodyPr lIns="36000" anchor="ctr">
            <a:noAutofit/>
          </a:bodyPr>
          <a:lstStyle>
            <a:lvl1pPr>
              <a:defRPr sz="1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DW</a:t>
            </a:r>
          </a:p>
        </p:txBody>
      </p:sp>
      <p:sp>
        <p:nvSpPr>
          <p:cNvPr id="76" name="Textfeld 75"/>
          <p:cNvSpPr txBox="1"/>
          <p:nvPr userDrawn="1"/>
        </p:nvSpPr>
        <p:spPr>
          <a:xfrm>
            <a:off x="5400752" y="3449923"/>
            <a:ext cx="911613" cy="3077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+43 1 24724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77" name="Inhaltsplatzhalter 2"/>
          <p:cNvSpPr>
            <a:spLocks noGrp="1"/>
          </p:cNvSpPr>
          <p:nvPr>
            <p:ph idx="35" hasCustomPrompt="1"/>
          </p:nvPr>
        </p:nvSpPr>
        <p:spPr>
          <a:xfrm>
            <a:off x="5400753" y="3792169"/>
            <a:ext cx="3072634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vorname.nachname@e-control.at</a:t>
            </a:r>
          </a:p>
        </p:txBody>
      </p:sp>
      <p:sp>
        <p:nvSpPr>
          <p:cNvPr id="78" name="Textfeld 77"/>
          <p:cNvSpPr txBox="1"/>
          <p:nvPr userDrawn="1"/>
        </p:nvSpPr>
        <p:spPr>
          <a:xfrm>
            <a:off x="5400757" y="4143836"/>
            <a:ext cx="3072632" cy="3077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www.e-control.at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79" name="Rechteck 78"/>
          <p:cNvSpPr/>
          <p:nvPr userDrawn="1"/>
        </p:nvSpPr>
        <p:spPr>
          <a:xfrm>
            <a:off x="4828773" y="3419145"/>
            <a:ext cx="4347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1800" dirty="0">
                <a:solidFill>
                  <a:schemeClr val="bg1"/>
                </a:solidFill>
                <a:sym typeface="Wingdings 2" pitchFamily="18" charset="2"/>
              </a:rPr>
              <a:t>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80" name="Rechteck 79"/>
          <p:cNvSpPr/>
          <p:nvPr userDrawn="1"/>
        </p:nvSpPr>
        <p:spPr>
          <a:xfrm>
            <a:off x="4823162" y="3761391"/>
            <a:ext cx="4459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ingdings" pitchFamily="2" charset="2"/>
              </a:rPr>
              <a:t>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81" name="Rechteck 80"/>
          <p:cNvSpPr/>
          <p:nvPr userDrawn="1"/>
        </p:nvSpPr>
        <p:spPr>
          <a:xfrm>
            <a:off x="4838391" y="4113058"/>
            <a:ext cx="4154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ebdings" pitchFamily="18" charset="2"/>
              </a:rPr>
              <a:t></a:t>
            </a:r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36662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  <p15:guide id="4" pos="5556">
          <p15:clr>
            <a:srgbClr val="FBAE40"/>
          </p15:clr>
        </p15:guide>
        <p15:guide id="5" orient="horz" pos="690">
          <p15:clr>
            <a:srgbClr val="FBAE40"/>
          </p15:clr>
        </p15:guide>
        <p15:guide id="6" orient="horz" pos="2958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reensaver - Ende -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66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350"/>
          </a:p>
        </p:txBody>
      </p:sp>
      <p:sp>
        <p:nvSpPr>
          <p:cNvPr id="2" name="Rechteck 1"/>
          <p:cNvSpPr/>
          <p:nvPr userDrawn="1"/>
        </p:nvSpPr>
        <p:spPr>
          <a:xfrm>
            <a:off x="2286000" y="2448056"/>
            <a:ext cx="4572000" cy="1815882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-Contro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udolfsplatz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13a, 1010 Wie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l.: +43 1 24 7 24-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ax: +43 1 247 24-90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-Mail: office@e-control.a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e-control.a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witter: www.twitter.com/energiecontro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acebook: www.facebook.com/energie.control</a:t>
            </a:r>
          </a:p>
        </p:txBody>
      </p:sp>
      <p:sp>
        <p:nvSpPr>
          <p:cNvPr id="9" name="Rechteck 8"/>
          <p:cNvSpPr/>
          <p:nvPr userDrawn="1"/>
        </p:nvSpPr>
        <p:spPr>
          <a:xfrm>
            <a:off x="1295636" y="1293817"/>
            <a:ext cx="655272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Demi" panose="020B0703020102020204" pitchFamily="34" charset="0"/>
                <a:ea typeface="+mn-ea"/>
                <a:cs typeface="Arial" panose="020B0604020202020204" pitchFamily="34" charset="0"/>
              </a:rPr>
              <a:t>Unsere Energie </a:t>
            </a:r>
            <a:r>
              <a:rPr kumimoji="0" lang="de-DE" sz="28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rPr>
              <a:t>gehört der Zukunft.</a:t>
            </a:r>
          </a:p>
        </p:txBody>
      </p:sp>
    </p:spTree>
    <p:extLst>
      <p:ext uri="{BB962C8B-B14F-4D97-AF65-F5344CB8AC3E}">
        <p14:creationId xmlns:p14="http://schemas.microsoft.com/office/powerpoint/2010/main" val="20670560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  <p15:guide id="4" pos="5556">
          <p15:clr>
            <a:srgbClr val="FBAE40"/>
          </p15:clr>
        </p15:guide>
        <p15:guide id="5" orient="horz" pos="3049">
          <p15:clr>
            <a:srgbClr val="FBAE40"/>
          </p15:clr>
        </p15:guide>
        <p15:guide id="6" orient="horz" pos="19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reensa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66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350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2813" y="1888235"/>
            <a:ext cx="5198375" cy="1367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15657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  <p15:guide id="4" pos="5556">
          <p15:clr>
            <a:srgbClr val="FBAE40"/>
          </p15:clr>
        </p15:guide>
        <p15:guide id="5" orient="horz" pos="3049">
          <p15:clr>
            <a:srgbClr val="FBAE40"/>
          </p15:clr>
        </p15:guide>
        <p15:guide id="6" orient="horz" pos="19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- G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82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2600" noProof="0" dirty="0">
              <a:solidFill>
                <a:schemeClr val="bg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27895" y="3115604"/>
            <a:ext cx="6488210" cy="1319381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2600">
                <a:solidFill>
                  <a:srgbClr val="0066A9"/>
                </a:solidFill>
              </a:defRPr>
            </a:lvl1pPr>
          </a:lstStyle>
          <a:p>
            <a:pPr lvl="0"/>
            <a:r>
              <a:rPr lang="de-DE" altLang="de-DE" noProof="0"/>
              <a:t>Master-Untertitelformat bearbeiten</a:t>
            </a:r>
            <a:endParaRPr lang="de-AT" altLang="de-DE" noProof="0" dirty="0"/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8994" y="1239602"/>
            <a:ext cx="1006012" cy="165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96303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- Ö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4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2600" noProof="0" dirty="0">
              <a:solidFill>
                <a:schemeClr val="bg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27895" y="3115604"/>
            <a:ext cx="6488210" cy="1319381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2600">
                <a:solidFill>
                  <a:srgbClr val="0066A9"/>
                </a:solidFill>
              </a:defRPr>
            </a:lvl1pPr>
          </a:lstStyle>
          <a:p>
            <a:pPr lvl="0"/>
            <a:r>
              <a:rPr lang="de-DE" altLang="de-DE" noProof="0"/>
              <a:t>Master-Untertitelformat bearbeiten</a:t>
            </a:r>
            <a:endParaRPr lang="de-AT" altLang="de-DE" noProof="0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8146" y="1239602"/>
            <a:ext cx="907709" cy="165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64705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- Str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16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2600" noProof="0" dirty="0">
              <a:solidFill>
                <a:schemeClr val="bg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27895" y="3115604"/>
            <a:ext cx="6488210" cy="1319381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2600">
                <a:solidFill>
                  <a:srgbClr val="0066A9"/>
                </a:solidFill>
              </a:defRPr>
            </a:lvl1pPr>
          </a:lstStyle>
          <a:p>
            <a:pPr lvl="0"/>
            <a:r>
              <a:rPr lang="de-DE" altLang="de-DE" noProof="0"/>
              <a:t>Master-Untertitelformat bearbeiten</a:t>
            </a:r>
            <a:endParaRPr lang="de-AT" altLang="de-DE" noProof="0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4000" y="1239786"/>
            <a:ext cx="1656000" cy="165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25676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- Rec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0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2600" noProof="0" dirty="0">
              <a:solidFill>
                <a:schemeClr val="bg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27895" y="3115604"/>
            <a:ext cx="6488210" cy="1319381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2600">
                <a:solidFill>
                  <a:srgbClr val="0066A9"/>
                </a:solidFill>
              </a:defRPr>
            </a:lvl1pPr>
          </a:lstStyle>
          <a:p>
            <a:pPr lvl="0"/>
            <a:r>
              <a:rPr lang="de-DE" altLang="de-DE" noProof="0"/>
              <a:t>Master-Untertitelformat bearbeiten</a:t>
            </a:r>
            <a:endParaRPr lang="de-AT" altLang="de-DE" noProof="0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6FAA0BD-19A2-4CD2-890E-434FB4143F68}"/>
              </a:ext>
            </a:extLst>
          </p:cNvPr>
          <p:cNvSpPr/>
          <p:nvPr userDrawn="1"/>
        </p:nvSpPr>
        <p:spPr>
          <a:xfrm>
            <a:off x="4044378" y="749167"/>
            <a:ext cx="1055246" cy="2169825"/>
          </a:xfrm>
          <a:prstGeom prst="rect">
            <a:avLst/>
          </a:prstGeom>
          <a:noFill/>
        </p:spPr>
        <p:txBody>
          <a:bodyPr wrap="none" lIns="90000" tIns="45720" rIns="91440" bIns="45720">
            <a:spAutoFit/>
          </a:bodyPr>
          <a:lstStyle/>
          <a:p>
            <a:pPr algn="ctr"/>
            <a:r>
              <a:rPr lang="de-DE" sz="13500" b="1" cap="none" spc="50" dirty="0">
                <a:ln w="9525" cmpd="sng">
                  <a:noFill/>
                  <a:prstDash val="solid"/>
                </a:ln>
                <a:solidFill>
                  <a:schemeClr val="accent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§</a:t>
            </a:r>
          </a:p>
        </p:txBody>
      </p:sp>
    </p:spTree>
    <p:extLst>
      <p:ext uri="{BB962C8B-B14F-4D97-AF65-F5344CB8AC3E}">
        <p14:creationId xmlns:p14="http://schemas.microsoft.com/office/powerpoint/2010/main" val="37068932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8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de-DE" sz="2600" noProof="0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66113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1-zeiliger Titel -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90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3096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90000"/>
              </a:lnSpc>
              <a:defRPr sz="2600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394601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84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AT" noProof="0" dirty="0"/>
              <a:t>Muster-Untertitel / Take </a:t>
            </a:r>
            <a:r>
              <a:rPr lang="de-AT" noProof="0" dirty="0" err="1"/>
              <a:t>home</a:t>
            </a:r>
            <a:r>
              <a:rPr lang="de-AT" noProof="0" dirty="0"/>
              <a:t> </a:t>
            </a:r>
            <a:r>
              <a:rPr lang="de-AT" noProof="0" dirty="0" err="1"/>
              <a:t>message</a:t>
            </a:r>
            <a:r>
              <a:rPr lang="de-AT" noProof="0" dirty="0"/>
              <a:t> (1-2 zeilig)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18127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2381"/>
            <a:ext cx="9144000" cy="972000"/>
          </a:xfrm>
          <a:prstGeom prst="rect">
            <a:avLst/>
          </a:prstGeom>
          <a:solidFill>
            <a:srgbClr val="0066A9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7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74" name="think-cell Folie" r:id="rId28" imgW="270" imgH="270" progId="TCLayout.ActiveDocument.1">
                  <p:embed/>
                </p:oleObj>
              </mc:Choice>
              <mc:Fallback>
                <p:oleObj name="think-cell Folie" r:id="rId28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>
          <a:xfrm>
            <a:off x="323850" y="4769165"/>
            <a:ext cx="1080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de-AT" noProof="0" dirty="0"/>
              <a:t>DD. MMMMMMM 2018</a:t>
            </a: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3"/>
          </p:nvPr>
        </p:nvSpPr>
        <p:spPr>
          <a:xfrm>
            <a:off x="2052000" y="4769165"/>
            <a:ext cx="5040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r>
              <a:rPr lang="de-AT" noProof="0" dirty="0"/>
              <a:t>(Name Veranstaltung / Vortragstitel)</a:t>
            </a: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4"/>
          </p:nvPr>
        </p:nvSpPr>
        <p:spPr>
          <a:xfrm>
            <a:off x="7740352" y="4769165"/>
            <a:ext cx="1080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1200" y="272381"/>
            <a:ext cx="1642756" cy="432000"/>
          </a:xfrm>
          <a:prstGeom prst="rect">
            <a:avLst/>
          </a:prstGeom>
        </p:spPr>
      </p:pic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>
          <a:xfrm>
            <a:off x="323850" y="1059801"/>
            <a:ext cx="8490106" cy="363602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835717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1" r:id="rId2"/>
    <p:sldLayoutId id="2147483765" r:id="rId3"/>
    <p:sldLayoutId id="2147483732" r:id="rId4"/>
    <p:sldLayoutId id="2147483733" r:id="rId5"/>
    <p:sldLayoutId id="2147483770" r:id="rId6"/>
    <p:sldLayoutId id="2147483768" r:id="rId7"/>
    <p:sldLayoutId id="2147483769" r:id="rId8"/>
    <p:sldLayoutId id="2147483766" r:id="rId9"/>
    <p:sldLayoutId id="2147483739" r:id="rId10"/>
    <p:sldLayoutId id="2147483740" r:id="rId11"/>
    <p:sldLayoutId id="2147483742" r:id="rId12"/>
    <p:sldLayoutId id="2147483743" r:id="rId13"/>
    <p:sldLayoutId id="2147483744" r:id="rId14"/>
    <p:sldLayoutId id="2147483745" r:id="rId15"/>
    <p:sldLayoutId id="2147483746" r:id="rId16"/>
    <p:sldLayoutId id="2147483747" r:id="rId17"/>
    <p:sldLayoutId id="2147483748" r:id="rId18"/>
    <p:sldLayoutId id="2147483749" r:id="rId19"/>
    <p:sldLayoutId id="2147483750" r:id="rId20"/>
    <p:sldLayoutId id="2147483767" r:id="rId21"/>
    <p:sldLayoutId id="2147483752" r:id="rId22"/>
    <p:sldLayoutId id="2147483755" r:id="rId23"/>
    <p:sldLayoutId id="2147483757" r:id="rId24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ts val="500"/>
        </a:spcBef>
        <a:buFont typeface="Arial" pitchFamily="34" charset="0"/>
        <a:buNone/>
        <a:defRPr sz="1600" kern="1200">
          <a:solidFill>
            <a:schemeClr val="tx1"/>
          </a:solidFill>
          <a:latin typeface="+mj-lt"/>
          <a:ea typeface="+mn-ea"/>
          <a:cs typeface="Arial" pitchFamily="34" charset="0"/>
        </a:defRPr>
      </a:lvl1pPr>
      <a:lvl2pPr marL="268288" indent="-268288" algn="l" defTabSz="914400" rtl="0" eaLnBrk="1" latinLnBrk="0" hangingPunct="1">
        <a:spcBef>
          <a:spcPts val="500"/>
        </a:spcBef>
        <a:buClr>
          <a:srgbClr val="0066A9"/>
        </a:buClr>
        <a:buFont typeface="Arial" panose="020B0604020202020204" pitchFamily="34" charset="0"/>
        <a:buChar char="&gt;"/>
        <a:defRPr sz="1600" kern="1200">
          <a:solidFill>
            <a:schemeClr val="tx1"/>
          </a:solidFill>
          <a:latin typeface="+mj-lt"/>
          <a:ea typeface="+mn-ea"/>
          <a:cs typeface="Arial" pitchFamily="34" charset="0"/>
        </a:defRPr>
      </a:lvl2pPr>
      <a:lvl3pPr marL="536575" indent="-268288" algn="l" defTabSz="914400" rtl="0" eaLnBrk="1" latinLnBrk="0" hangingPunct="1">
        <a:spcBef>
          <a:spcPts val="400"/>
        </a:spcBef>
        <a:buClr>
          <a:srgbClr val="0066A9"/>
        </a:buClr>
        <a:buFont typeface="Wingdings" panose="05000000000000000000" pitchFamily="2" charset="2"/>
        <a:buChar char=""/>
        <a:defRPr sz="1600" kern="1200">
          <a:solidFill>
            <a:schemeClr val="tx1"/>
          </a:solidFill>
          <a:latin typeface="+mj-lt"/>
          <a:ea typeface="+mn-ea"/>
          <a:cs typeface="Arial" pitchFamily="34" charset="0"/>
        </a:defRPr>
      </a:lvl3pPr>
      <a:lvl4pPr marL="720725" indent="-273050" algn="l" defTabSz="914400" rtl="0" eaLnBrk="1" latinLnBrk="0" hangingPunct="1">
        <a:spcBef>
          <a:spcPts val="4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j-lt"/>
          <a:ea typeface="+mn-ea"/>
          <a:cs typeface="Arial" pitchFamily="34" charset="0"/>
        </a:defRPr>
      </a:lvl4pPr>
      <a:lvl5pPr marL="896938" indent="-269875" algn="l" defTabSz="914400" rtl="0" eaLnBrk="1" latinLnBrk="0" hangingPunct="1">
        <a:spcBef>
          <a:spcPts val="4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j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01" userDrawn="1">
          <p15:clr>
            <a:srgbClr val="F26B43"/>
          </p15:clr>
        </p15:guide>
        <p15:guide id="2" pos="5556">
          <p15:clr>
            <a:srgbClr val="F26B43"/>
          </p15:clr>
        </p15:guide>
        <p15:guide id="4" pos="2880">
          <p15:clr>
            <a:srgbClr val="F26B43"/>
          </p15:clr>
        </p15:guide>
        <p15:guide id="5" orient="horz" pos="2958">
          <p15:clr>
            <a:srgbClr val="F26B43"/>
          </p15:clr>
        </p15:guide>
        <p15:guide id="6" orient="horz" pos="667" userDrawn="1">
          <p15:clr>
            <a:srgbClr val="F26B43"/>
          </p15:clr>
        </p15:guide>
        <p15:guide id="7" pos="204">
          <p15:clr>
            <a:srgbClr val="F26B43"/>
          </p15:clr>
        </p15:guide>
        <p15:guide id="8" pos="1950">
          <p15:clr>
            <a:srgbClr val="F26B43"/>
          </p15:clr>
        </p15:guide>
        <p15:guide id="9" pos="3810">
          <p15:clr>
            <a:srgbClr val="F26B43"/>
          </p15:clr>
        </p15:guide>
        <p15:guide id="10" pos="1995">
          <p15:clr>
            <a:srgbClr val="F26B43"/>
          </p15:clr>
        </p15:guide>
        <p15:guide id="11" pos="3765">
          <p15:clr>
            <a:srgbClr val="F26B43"/>
          </p15:clr>
        </p15:guide>
        <p15:guide id="12" orient="horz" pos="1439" userDrawn="1">
          <p15:clr>
            <a:srgbClr val="F26B43"/>
          </p15:clr>
        </p15:guide>
        <p15:guide id="13" orient="horz" pos="2210" userDrawn="1">
          <p15:clr>
            <a:srgbClr val="F26B43"/>
          </p15:clr>
        </p15:guide>
        <p15:guide id="14" orient="horz" pos="1393" userDrawn="1">
          <p15:clr>
            <a:srgbClr val="F26B43"/>
          </p15:clr>
        </p15:guide>
        <p15:guide id="16" orient="horz" pos="216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7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8.pn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31.pn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34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15.png"/><Relationship Id="rId7" Type="http://schemas.openxmlformats.org/officeDocument/2006/relationships/image" Target="../media/image3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34.png"/><Relationship Id="rId5" Type="http://schemas.openxmlformats.org/officeDocument/2006/relationships/image" Target="../media/image17.png"/><Relationship Id="rId10" Type="http://schemas.openxmlformats.org/officeDocument/2006/relationships/image" Target="../media/image38.png"/><Relationship Id="rId4" Type="http://schemas.openxmlformats.org/officeDocument/2006/relationships/image" Target="../media/image16.png"/><Relationship Id="rId9" Type="http://schemas.openxmlformats.org/officeDocument/2006/relationships/image" Target="../media/image37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asconnect.at/netzzugang/fernleitungsnetz/kapazitaetsprojekte/gca-mosonmagyarovar/" TargetMode="External"/><Relationship Id="rId3" Type="http://schemas.openxmlformats.org/officeDocument/2006/relationships/hyperlink" Target="https://www.gasconnect.at/netzzugang/fernleitungsnetz/kapazitaetsprojekte/hu-sk-at-korridor/" TargetMode="External"/><Relationship Id="rId7" Type="http://schemas.openxmlformats.org/officeDocument/2006/relationships/hyperlink" Target="https://www.gasconnect.at/en/network-information/network-development/network-development-plan/" TargetMode="Externa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0.xml"/><Relationship Id="rId6" Type="http://schemas.openxmlformats.org/officeDocument/2006/relationships/hyperlink" Target="https://fgsz.hu/en-gb/partnereinknek/kapacitaskereskedelmi-informaciok/open-season" TargetMode="External"/><Relationship Id="rId5" Type="http://schemas.openxmlformats.org/officeDocument/2006/relationships/hyperlink" Target="http://www.gaztranzit.hu/en/Lapok/default.aspx" TargetMode="External"/><Relationship Id="rId4" Type="http://schemas.openxmlformats.org/officeDocument/2006/relationships/hyperlink" Target="http://www.eustream.sk/en_media/en_news/consultation-binding-alternative-allocation-procedure-for-the-hu-sk-at-route" TargetMode="Externa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image" Target="../media/image9.png"/><Relationship Id="rId7" Type="http://schemas.openxmlformats.org/officeDocument/2006/relationships/image" Target="../media/image13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2.emf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8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Relationship Id="rId9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5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2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07.06.2018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75556" y="2499742"/>
            <a:ext cx="7992888" cy="1368152"/>
          </a:xfrm>
        </p:spPr>
        <p:txBody>
          <a:bodyPr/>
          <a:lstStyle/>
          <a:p>
            <a:pPr algn="ctr"/>
            <a:r>
              <a:rPr lang="de-DE" dirty="0"/>
              <a:t>ROHU(AT) – </a:t>
            </a:r>
            <a:r>
              <a:rPr lang="de-DE" dirty="0" err="1"/>
              <a:t>Mosonmagyarovar</a:t>
            </a:r>
            <a:r>
              <a:rPr lang="de-DE" dirty="0"/>
              <a:t> – HUSKAT</a:t>
            </a:r>
            <a:br>
              <a:rPr lang="de-DE" dirty="0"/>
            </a:br>
            <a:br>
              <a:rPr lang="de-DE" dirty="0"/>
            </a:br>
            <a:r>
              <a:rPr lang="de-DE" dirty="0"/>
              <a:t>GRI SSE  Prag</a:t>
            </a:r>
            <a:br>
              <a:rPr lang="de-DE" dirty="0"/>
            </a:b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Alessandro Ischia </a:t>
            </a:r>
          </a:p>
        </p:txBody>
      </p:sp>
    </p:spTree>
    <p:extLst>
      <p:ext uri="{BB962C8B-B14F-4D97-AF65-F5344CB8AC3E}">
        <p14:creationId xmlns:p14="http://schemas.microsoft.com/office/powerpoint/2010/main" val="2955686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D72EFE-39A8-4B38-8958-18B01BBC24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oal: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reach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Austrian VTP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8D7C312-B1AA-438D-BF6B-B475FFEBF90A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GB" dirty="0"/>
              <a:t>But the </a:t>
            </a:r>
            <a:r>
              <a:rPr lang="en-GB" b="1" dirty="0"/>
              <a:t>interest of the market for the corridor </a:t>
            </a:r>
            <a:r>
              <a:rPr lang="en-GB" dirty="0"/>
              <a:t>from black Sea to Austrian VTP is still present </a:t>
            </a:r>
          </a:p>
          <a:p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3F1E6D7-79AF-4173-B9CF-27FE352A550C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7657052-053D-4F8A-9024-BB231EE7673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3867FCE2-59F1-44AA-9AFA-EA03DBF8375D}"/>
              </a:ext>
            </a:extLst>
          </p:cNvPr>
          <p:cNvSpPr txBox="1">
            <a:spLocks/>
          </p:cNvSpPr>
          <p:nvPr/>
        </p:nvSpPr>
        <p:spPr>
          <a:xfrm>
            <a:off x="576488" y="1104708"/>
            <a:ext cx="8229600" cy="314897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1pPr>
            <a:lvl2pPr marL="268288" indent="-268288" algn="l" defTabSz="914400" rtl="0" eaLnBrk="1" latinLnBrk="0" hangingPunct="1">
              <a:spcBef>
                <a:spcPts val="500"/>
              </a:spcBef>
              <a:buClr>
                <a:srgbClr val="0066A9"/>
              </a:buClr>
              <a:buFont typeface="Arial" panose="020B0604020202020204" pitchFamily="34" charset="0"/>
              <a:buChar char="&gt;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2pPr>
            <a:lvl3pPr marL="536575" indent="-268288" algn="l" defTabSz="914400" rtl="0" eaLnBrk="1" latinLnBrk="0" hangingPunct="1">
              <a:spcBef>
                <a:spcPts val="400"/>
              </a:spcBef>
              <a:buClr>
                <a:srgbClr val="0066A9"/>
              </a:buClr>
              <a:buFont typeface="Wingdings" panose="05000000000000000000" pitchFamily="2" charset="2"/>
              <a:buChar char="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3pPr>
            <a:lvl4pPr marL="720725" indent="-273050" algn="l" defTabSz="914400" rtl="0" eaLnBrk="1" latinLnBrk="0" hangingPunct="1">
              <a:spcBef>
                <a:spcPts val="4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9" name="Foliennummernplatzhalter 3">
            <a:extLst>
              <a:ext uri="{FF2B5EF4-FFF2-40B4-BE49-F238E27FC236}">
                <a16:creationId xmlns:a16="http://schemas.microsoft.com/office/drawing/2014/main" id="{49C4FD46-4C76-4559-91AD-AD68811696EE}"/>
              </a:ext>
            </a:extLst>
          </p:cNvPr>
          <p:cNvSpPr txBox="1">
            <a:spLocks/>
          </p:cNvSpPr>
          <p:nvPr/>
        </p:nvSpPr>
        <p:spPr>
          <a:xfrm>
            <a:off x="6672488" y="4372747"/>
            <a:ext cx="2133600" cy="4762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600" i="1" kern="1200" baseline="0">
                <a:solidFill>
                  <a:schemeClr val="bg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1pPr>
            <a:lvl2pPr marL="268288" indent="-268288" algn="l" defTabSz="914400" rtl="0" eaLnBrk="1" latinLnBrk="0" hangingPunct="1">
              <a:spcBef>
                <a:spcPts val="500"/>
              </a:spcBef>
              <a:buClr>
                <a:srgbClr val="0066A9"/>
              </a:buClr>
              <a:buFont typeface="Arial" panose="020B0604020202020204" pitchFamily="34" charset="0"/>
              <a:buChar char="&gt;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2pPr>
            <a:lvl3pPr marL="536575" indent="-268288" algn="l" defTabSz="914400" rtl="0" eaLnBrk="1" latinLnBrk="0" hangingPunct="1">
              <a:spcBef>
                <a:spcPts val="400"/>
              </a:spcBef>
              <a:buClr>
                <a:srgbClr val="0066A9"/>
              </a:buClr>
              <a:buFont typeface="Wingdings" panose="05000000000000000000" pitchFamily="2" charset="2"/>
              <a:buChar char="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3pPr>
            <a:lvl4pPr marL="720725" indent="-273050" algn="l" defTabSz="914400" rtl="0" eaLnBrk="1" latinLnBrk="0" hangingPunct="1">
              <a:spcBef>
                <a:spcPts val="4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38FDFA3-F5B0-4BC3-9E09-D644D952F017}" type="slidenum">
              <a:rPr lang="de-DE" altLang="de-DE" smtClean="0"/>
              <a:pPr/>
              <a:t>10</a:t>
            </a:fld>
            <a:endParaRPr lang="de-DE" altLang="de-DE"/>
          </a:p>
        </p:txBody>
      </p:sp>
      <p:sp>
        <p:nvSpPr>
          <p:cNvPr id="10" name="Foliennummernplatzhalter 3">
            <a:extLst>
              <a:ext uri="{FF2B5EF4-FFF2-40B4-BE49-F238E27FC236}">
                <a16:creationId xmlns:a16="http://schemas.microsoft.com/office/drawing/2014/main" id="{41FCCAF4-06BA-4BF9-8204-891B66023E7B}"/>
              </a:ext>
            </a:extLst>
          </p:cNvPr>
          <p:cNvSpPr txBox="1">
            <a:spLocks/>
          </p:cNvSpPr>
          <p:nvPr/>
        </p:nvSpPr>
        <p:spPr bwMode="auto">
          <a:xfrm>
            <a:off x="5802454" y="4315175"/>
            <a:ext cx="1415437" cy="2956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rgbClr val="000066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F38FDFA3-F5B0-4BC3-9E09-D644D952F017}" type="slidenum">
              <a:rPr lang="de-DE" altLang="de-DE" smtClean="0"/>
              <a:pPr/>
              <a:t>10</a:t>
            </a:fld>
            <a:endParaRPr lang="de-DE" altLang="de-DE"/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FB0F0340-6649-4076-9208-80C868025C47}"/>
              </a:ext>
            </a:extLst>
          </p:cNvPr>
          <p:cNvGrpSpPr/>
          <p:nvPr/>
        </p:nvGrpSpPr>
        <p:grpSpPr>
          <a:xfrm>
            <a:off x="1450928" y="1606429"/>
            <a:ext cx="6162374" cy="2995487"/>
            <a:chOff x="755519" y="2428889"/>
            <a:chExt cx="7992945" cy="3880431"/>
          </a:xfrm>
        </p:grpSpPr>
        <p:sp>
          <p:nvSpPr>
            <p:cNvPr id="12" name="Freeform 26">
              <a:extLst>
                <a:ext uri="{FF2B5EF4-FFF2-40B4-BE49-F238E27FC236}">
                  <a16:creationId xmlns:a16="http://schemas.microsoft.com/office/drawing/2014/main" id="{82932095-BD10-4FCF-BB5E-0D2442755FE9}"/>
                </a:ext>
              </a:extLst>
            </p:cNvPr>
            <p:cNvSpPr>
              <a:spLocks/>
            </p:cNvSpPr>
            <p:nvPr/>
          </p:nvSpPr>
          <p:spPr bwMode="gray">
            <a:xfrm>
              <a:off x="755519" y="2888254"/>
              <a:ext cx="3096896" cy="1740752"/>
            </a:xfrm>
            <a:custGeom>
              <a:avLst/>
              <a:gdLst>
                <a:gd name="T0" fmla="*/ 31 w 302"/>
                <a:gd name="T1" fmla="*/ 209 h 148"/>
                <a:gd name="T2" fmla="*/ 48 w 302"/>
                <a:gd name="T3" fmla="*/ 207 h 148"/>
                <a:gd name="T4" fmla="*/ 70 w 302"/>
                <a:gd name="T5" fmla="*/ 215 h 148"/>
                <a:gd name="T6" fmla="*/ 86 w 302"/>
                <a:gd name="T7" fmla="*/ 229 h 148"/>
                <a:gd name="T8" fmla="*/ 100 w 302"/>
                <a:gd name="T9" fmla="*/ 244 h 148"/>
                <a:gd name="T10" fmla="*/ 138 w 302"/>
                <a:gd name="T11" fmla="*/ 224 h 148"/>
                <a:gd name="T12" fmla="*/ 155 w 302"/>
                <a:gd name="T13" fmla="*/ 207 h 148"/>
                <a:gd name="T14" fmla="*/ 198 w 302"/>
                <a:gd name="T15" fmla="*/ 209 h 148"/>
                <a:gd name="T16" fmla="*/ 217 w 302"/>
                <a:gd name="T17" fmla="*/ 229 h 148"/>
                <a:gd name="T18" fmla="*/ 275 w 302"/>
                <a:gd name="T19" fmla="*/ 220 h 148"/>
                <a:gd name="T20" fmla="*/ 303 w 302"/>
                <a:gd name="T21" fmla="*/ 209 h 148"/>
                <a:gd name="T22" fmla="*/ 392 w 302"/>
                <a:gd name="T23" fmla="*/ 198 h 148"/>
                <a:gd name="T24" fmla="*/ 429 w 302"/>
                <a:gd name="T25" fmla="*/ 184 h 148"/>
                <a:gd name="T26" fmla="*/ 477 w 302"/>
                <a:gd name="T27" fmla="*/ 189 h 148"/>
                <a:gd name="T28" fmla="*/ 486 w 302"/>
                <a:gd name="T29" fmla="*/ 207 h 148"/>
                <a:gd name="T30" fmla="*/ 523 w 302"/>
                <a:gd name="T31" fmla="*/ 215 h 148"/>
                <a:gd name="T32" fmla="*/ 523 w 302"/>
                <a:gd name="T33" fmla="*/ 184 h 148"/>
                <a:gd name="T34" fmla="*/ 516 w 302"/>
                <a:gd name="T35" fmla="*/ 164 h 148"/>
                <a:gd name="T36" fmla="*/ 499 w 302"/>
                <a:gd name="T37" fmla="*/ 106 h 148"/>
                <a:gd name="T38" fmla="*/ 577 w 302"/>
                <a:gd name="T39" fmla="*/ 76 h 148"/>
                <a:gd name="T40" fmla="*/ 593 w 302"/>
                <a:gd name="T41" fmla="*/ 50 h 148"/>
                <a:gd name="T42" fmla="*/ 661 w 302"/>
                <a:gd name="T43" fmla="*/ 47 h 148"/>
                <a:gd name="T44" fmla="*/ 700 w 302"/>
                <a:gd name="T45" fmla="*/ 56 h 148"/>
                <a:gd name="T46" fmla="*/ 770 w 302"/>
                <a:gd name="T47" fmla="*/ 50 h 148"/>
                <a:gd name="T48" fmla="*/ 905 w 302"/>
                <a:gd name="T49" fmla="*/ 21 h 148"/>
                <a:gd name="T50" fmla="*/ 1070 w 302"/>
                <a:gd name="T51" fmla="*/ 26 h 148"/>
                <a:gd name="T52" fmla="*/ 1106 w 302"/>
                <a:gd name="T53" fmla="*/ 47 h 148"/>
                <a:gd name="T54" fmla="*/ 1100 w 302"/>
                <a:gd name="T55" fmla="*/ 91 h 148"/>
                <a:gd name="T56" fmla="*/ 1160 w 302"/>
                <a:gd name="T57" fmla="*/ 143 h 148"/>
                <a:gd name="T58" fmla="*/ 1121 w 302"/>
                <a:gd name="T59" fmla="*/ 189 h 148"/>
                <a:gd name="T60" fmla="*/ 1060 w 302"/>
                <a:gd name="T61" fmla="*/ 184 h 148"/>
                <a:gd name="T62" fmla="*/ 1023 w 302"/>
                <a:gd name="T63" fmla="*/ 195 h 148"/>
                <a:gd name="T64" fmla="*/ 1060 w 302"/>
                <a:gd name="T65" fmla="*/ 209 h 148"/>
                <a:gd name="T66" fmla="*/ 1028 w 302"/>
                <a:gd name="T67" fmla="*/ 229 h 148"/>
                <a:gd name="T68" fmla="*/ 1038 w 302"/>
                <a:gd name="T69" fmla="*/ 267 h 148"/>
                <a:gd name="T70" fmla="*/ 1008 w 302"/>
                <a:gd name="T71" fmla="*/ 306 h 148"/>
                <a:gd name="T72" fmla="*/ 964 w 302"/>
                <a:gd name="T73" fmla="*/ 334 h 148"/>
                <a:gd name="T74" fmla="*/ 884 w 302"/>
                <a:gd name="T75" fmla="*/ 347 h 148"/>
                <a:gd name="T76" fmla="*/ 792 w 302"/>
                <a:gd name="T77" fmla="*/ 347 h 148"/>
                <a:gd name="T78" fmla="*/ 732 w 302"/>
                <a:gd name="T79" fmla="*/ 366 h 148"/>
                <a:gd name="T80" fmla="*/ 675 w 302"/>
                <a:gd name="T81" fmla="*/ 362 h 148"/>
                <a:gd name="T82" fmla="*/ 577 w 302"/>
                <a:gd name="T83" fmla="*/ 351 h 148"/>
                <a:gd name="T84" fmla="*/ 429 w 302"/>
                <a:gd name="T85" fmla="*/ 332 h 148"/>
                <a:gd name="T86" fmla="*/ 382 w 302"/>
                <a:gd name="T87" fmla="*/ 297 h 148"/>
                <a:gd name="T88" fmla="*/ 332 w 302"/>
                <a:gd name="T89" fmla="*/ 290 h 148"/>
                <a:gd name="T90" fmla="*/ 275 w 302"/>
                <a:gd name="T91" fmla="*/ 290 h 148"/>
                <a:gd name="T92" fmla="*/ 244 w 302"/>
                <a:gd name="T93" fmla="*/ 290 h 148"/>
                <a:gd name="T94" fmla="*/ 185 w 302"/>
                <a:gd name="T95" fmla="*/ 316 h 148"/>
                <a:gd name="T96" fmla="*/ 138 w 302"/>
                <a:gd name="T97" fmla="*/ 290 h 148"/>
                <a:gd name="T98" fmla="*/ 94 w 302"/>
                <a:gd name="T99" fmla="*/ 306 h 148"/>
                <a:gd name="T100" fmla="*/ 56 w 302"/>
                <a:gd name="T101" fmla="*/ 283 h 148"/>
                <a:gd name="T102" fmla="*/ 16 w 302"/>
                <a:gd name="T103" fmla="*/ 267 h 148"/>
                <a:gd name="T104" fmla="*/ 16 w 302"/>
                <a:gd name="T105" fmla="*/ 229 h 148"/>
                <a:gd name="T106" fmla="*/ 10 w 302"/>
                <a:gd name="T107" fmla="*/ 207 h 1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02"/>
                <a:gd name="T163" fmla="*/ 0 h 148"/>
                <a:gd name="T164" fmla="*/ 302 w 302"/>
                <a:gd name="T165" fmla="*/ 148 h 14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02" h="148">
                  <a:moveTo>
                    <a:pt x="2" y="80"/>
                  </a:moveTo>
                  <a:lnTo>
                    <a:pt x="8" y="82"/>
                  </a:lnTo>
                  <a:lnTo>
                    <a:pt x="12" y="78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8" y="84"/>
                  </a:lnTo>
                  <a:lnTo>
                    <a:pt x="22" y="86"/>
                  </a:lnTo>
                  <a:lnTo>
                    <a:pt x="22" y="90"/>
                  </a:lnTo>
                  <a:lnTo>
                    <a:pt x="26" y="90"/>
                  </a:lnTo>
                  <a:lnTo>
                    <a:pt x="26" y="96"/>
                  </a:lnTo>
                  <a:lnTo>
                    <a:pt x="28" y="96"/>
                  </a:lnTo>
                  <a:lnTo>
                    <a:pt x="36" y="88"/>
                  </a:lnTo>
                  <a:lnTo>
                    <a:pt x="36" y="80"/>
                  </a:lnTo>
                  <a:lnTo>
                    <a:pt x="40" y="80"/>
                  </a:lnTo>
                  <a:lnTo>
                    <a:pt x="44" y="80"/>
                  </a:lnTo>
                  <a:lnTo>
                    <a:pt x="52" y="82"/>
                  </a:lnTo>
                  <a:lnTo>
                    <a:pt x="54" y="86"/>
                  </a:lnTo>
                  <a:lnTo>
                    <a:pt x="56" y="90"/>
                  </a:lnTo>
                  <a:lnTo>
                    <a:pt x="66" y="90"/>
                  </a:lnTo>
                  <a:lnTo>
                    <a:pt x="72" y="86"/>
                  </a:lnTo>
                  <a:lnTo>
                    <a:pt x="74" y="82"/>
                  </a:lnTo>
                  <a:lnTo>
                    <a:pt x="78" y="82"/>
                  </a:lnTo>
                  <a:lnTo>
                    <a:pt x="80" y="78"/>
                  </a:lnTo>
                  <a:lnTo>
                    <a:pt x="102" y="78"/>
                  </a:lnTo>
                  <a:lnTo>
                    <a:pt x="104" y="72"/>
                  </a:lnTo>
                  <a:lnTo>
                    <a:pt x="112" y="72"/>
                  </a:lnTo>
                  <a:lnTo>
                    <a:pt x="114" y="76"/>
                  </a:lnTo>
                  <a:lnTo>
                    <a:pt x="124" y="74"/>
                  </a:lnTo>
                  <a:lnTo>
                    <a:pt x="128" y="76"/>
                  </a:lnTo>
                  <a:lnTo>
                    <a:pt x="126" y="80"/>
                  </a:lnTo>
                  <a:lnTo>
                    <a:pt x="134" y="86"/>
                  </a:lnTo>
                  <a:lnTo>
                    <a:pt x="136" y="84"/>
                  </a:lnTo>
                  <a:lnTo>
                    <a:pt x="136" y="76"/>
                  </a:lnTo>
                  <a:lnTo>
                    <a:pt x="136" y="72"/>
                  </a:lnTo>
                  <a:lnTo>
                    <a:pt x="130" y="70"/>
                  </a:lnTo>
                  <a:lnTo>
                    <a:pt x="134" y="64"/>
                  </a:lnTo>
                  <a:lnTo>
                    <a:pt x="124" y="48"/>
                  </a:lnTo>
                  <a:lnTo>
                    <a:pt x="130" y="42"/>
                  </a:lnTo>
                  <a:lnTo>
                    <a:pt x="148" y="34"/>
                  </a:lnTo>
                  <a:lnTo>
                    <a:pt x="150" y="30"/>
                  </a:lnTo>
                  <a:lnTo>
                    <a:pt x="150" y="22"/>
                  </a:lnTo>
                  <a:lnTo>
                    <a:pt x="154" y="20"/>
                  </a:lnTo>
                  <a:lnTo>
                    <a:pt x="160" y="26"/>
                  </a:lnTo>
                  <a:lnTo>
                    <a:pt x="172" y="18"/>
                  </a:lnTo>
                  <a:lnTo>
                    <a:pt x="174" y="18"/>
                  </a:lnTo>
                  <a:lnTo>
                    <a:pt x="182" y="22"/>
                  </a:lnTo>
                  <a:lnTo>
                    <a:pt x="190" y="24"/>
                  </a:lnTo>
                  <a:lnTo>
                    <a:pt x="200" y="20"/>
                  </a:lnTo>
                  <a:lnTo>
                    <a:pt x="212" y="0"/>
                  </a:lnTo>
                  <a:lnTo>
                    <a:pt x="236" y="8"/>
                  </a:lnTo>
                  <a:lnTo>
                    <a:pt x="254" y="14"/>
                  </a:lnTo>
                  <a:lnTo>
                    <a:pt x="278" y="10"/>
                  </a:lnTo>
                  <a:lnTo>
                    <a:pt x="286" y="16"/>
                  </a:lnTo>
                  <a:lnTo>
                    <a:pt x="288" y="18"/>
                  </a:lnTo>
                  <a:lnTo>
                    <a:pt x="288" y="20"/>
                  </a:lnTo>
                  <a:lnTo>
                    <a:pt x="286" y="36"/>
                  </a:lnTo>
                  <a:lnTo>
                    <a:pt x="290" y="42"/>
                  </a:lnTo>
                  <a:lnTo>
                    <a:pt x="302" y="56"/>
                  </a:lnTo>
                  <a:lnTo>
                    <a:pt x="292" y="64"/>
                  </a:lnTo>
                  <a:lnTo>
                    <a:pt x="292" y="74"/>
                  </a:lnTo>
                  <a:lnTo>
                    <a:pt x="280" y="74"/>
                  </a:lnTo>
                  <a:lnTo>
                    <a:pt x="276" y="72"/>
                  </a:lnTo>
                  <a:lnTo>
                    <a:pt x="270" y="72"/>
                  </a:lnTo>
                  <a:lnTo>
                    <a:pt x="266" y="76"/>
                  </a:lnTo>
                  <a:lnTo>
                    <a:pt x="274" y="78"/>
                  </a:lnTo>
                  <a:lnTo>
                    <a:pt x="276" y="82"/>
                  </a:lnTo>
                  <a:lnTo>
                    <a:pt x="274" y="88"/>
                  </a:lnTo>
                  <a:lnTo>
                    <a:pt x="268" y="90"/>
                  </a:lnTo>
                  <a:lnTo>
                    <a:pt x="266" y="100"/>
                  </a:lnTo>
                  <a:lnTo>
                    <a:pt x="270" y="104"/>
                  </a:lnTo>
                  <a:lnTo>
                    <a:pt x="268" y="112"/>
                  </a:lnTo>
                  <a:lnTo>
                    <a:pt x="262" y="120"/>
                  </a:lnTo>
                  <a:lnTo>
                    <a:pt x="250" y="124"/>
                  </a:lnTo>
                  <a:lnTo>
                    <a:pt x="250" y="132"/>
                  </a:lnTo>
                  <a:lnTo>
                    <a:pt x="236" y="130"/>
                  </a:lnTo>
                  <a:lnTo>
                    <a:pt x="230" y="136"/>
                  </a:lnTo>
                  <a:lnTo>
                    <a:pt x="216" y="132"/>
                  </a:lnTo>
                  <a:lnTo>
                    <a:pt x="206" y="136"/>
                  </a:lnTo>
                  <a:lnTo>
                    <a:pt x="194" y="148"/>
                  </a:lnTo>
                  <a:lnTo>
                    <a:pt x="190" y="144"/>
                  </a:lnTo>
                  <a:lnTo>
                    <a:pt x="180" y="144"/>
                  </a:lnTo>
                  <a:lnTo>
                    <a:pt x="176" y="142"/>
                  </a:lnTo>
                  <a:lnTo>
                    <a:pt x="158" y="140"/>
                  </a:lnTo>
                  <a:lnTo>
                    <a:pt x="150" y="138"/>
                  </a:lnTo>
                  <a:lnTo>
                    <a:pt x="134" y="136"/>
                  </a:lnTo>
                  <a:lnTo>
                    <a:pt x="112" y="130"/>
                  </a:lnTo>
                  <a:lnTo>
                    <a:pt x="106" y="120"/>
                  </a:lnTo>
                  <a:lnTo>
                    <a:pt x="100" y="116"/>
                  </a:lnTo>
                  <a:lnTo>
                    <a:pt x="100" y="108"/>
                  </a:lnTo>
                  <a:lnTo>
                    <a:pt x="86" y="114"/>
                  </a:lnTo>
                  <a:lnTo>
                    <a:pt x="80" y="110"/>
                  </a:lnTo>
                  <a:lnTo>
                    <a:pt x="72" y="114"/>
                  </a:lnTo>
                  <a:lnTo>
                    <a:pt x="70" y="112"/>
                  </a:lnTo>
                  <a:lnTo>
                    <a:pt x="64" y="114"/>
                  </a:lnTo>
                  <a:lnTo>
                    <a:pt x="58" y="124"/>
                  </a:lnTo>
                  <a:lnTo>
                    <a:pt x="48" y="124"/>
                  </a:lnTo>
                  <a:lnTo>
                    <a:pt x="36" y="120"/>
                  </a:lnTo>
                  <a:lnTo>
                    <a:pt x="36" y="114"/>
                  </a:lnTo>
                  <a:lnTo>
                    <a:pt x="34" y="112"/>
                  </a:lnTo>
                  <a:lnTo>
                    <a:pt x="24" y="120"/>
                  </a:lnTo>
                  <a:lnTo>
                    <a:pt x="14" y="114"/>
                  </a:lnTo>
                  <a:lnTo>
                    <a:pt x="14" y="110"/>
                  </a:lnTo>
                  <a:lnTo>
                    <a:pt x="2" y="108"/>
                  </a:lnTo>
                  <a:lnTo>
                    <a:pt x="4" y="104"/>
                  </a:lnTo>
                  <a:lnTo>
                    <a:pt x="0" y="96"/>
                  </a:lnTo>
                  <a:lnTo>
                    <a:pt x="4" y="90"/>
                  </a:lnTo>
                  <a:lnTo>
                    <a:pt x="2" y="80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3" name="Freeform 27">
              <a:extLst>
                <a:ext uri="{FF2B5EF4-FFF2-40B4-BE49-F238E27FC236}">
                  <a16:creationId xmlns:a16="http://schemas.microsoft.com/office/drawing/2014/main" id="{01650568-31D6-4787-A01E-60C8E360A99F}"/>
                </a:ext>
              </a:extLst>
            </p:cNvPr>
            <p:cNvSpPr>
              <a:spLocks/>
            </p:cNvSpPr>
            <p:nvPr/>
          </p:nvSpPr>
          <p:spPr bwMode="gray">
            <a:xfrm>
              <a:off x="3695112" y="2428889"/>
              <a:ext cx="2231730" cy="1220941"/>
            </a:xfrm>
            <a:custGeom>
              <a:avLst/>
              <a:gdLst>
                <a:gd name="T0" fmla="*/ 2 w 218"/>
                <a:gd name="T1" fmla="*/ 144 h 102"/>
                <a:gd name="T2" fmla="*/ 14 w 218"/>
                <a:gd name="T3" fmla="*/ 127 h 102"/>
                <a:gd name="T4" fmla="*/ 30 w 218"/>
                <a:gd name="T5" fmla="*/ 118 h 102"/>
                <a:gd name="T6" fmla="*/ 37 w 218"/>
                <a:gd name="T7" fmla="*/ 111 h 102"/>
                <a:gd name="T8" fmla="*/ 50 w 218"/>
                <a:gd name="T9" fmla="*/ 111 h 102"/>
                <a:gd name="T10" fmla="*/ 76 w 218"/>
                <a:gd name="T11" fmla="*/ 118 h 102"/>
                <a:gd name="T12" fmla="*/ 81 w 218"/>
                <a:gd name="T13" fmla="*/ 111 h 102"/>
                <a:gd name="T14" fmla="*/ 89 w 218"/>
                <a:gd name="T15" fmla="*/ 118 h 102"/>
                <a:gd name="T16" fmla="*/ 107 w 218"/>
                <a:gd name="T17" fmla="*/ 111 h 102"/>
                <a:gd name="T18" fmla="*/ 120 w 218"/>
                <a:gd name="T19" fmla="*/ 105 h 102"/>
                <a:gd name="T20" fmla="*/ 126 w 218"/>
                <a:gd name="T21" fmla="*/ 101 h 102"/>
                <a:gd name="T22" fmla="*/ 143 w 218"/>
                <a:gd name="T23" fmla="*/ 101 h 102"/>
                <a:gd name="T24" fmla="*/ 150 w 218"/>
                <a:gd name="T25" fmla="*/ 89 h 102"/>
                <a:gd name="T26" fmla="*/ 157 w 218"/>
                <a:gd name="T27" fmla="*/ 86 h 102"/>
                <a:gd name="T28" fmla="*/ 172 w 218"/>
                <a:gd name="T29" fmla="*/ 78 h 102"/>
                <a:gd name="T30" fmla="*/ 182 w 218"/>
                <a:gd name="T31" fmla="*/ 64 h 102"/>
                <a:gd name="T32" fmla="*/ 187 w 218"/>
                <a:gd name="T33" fmla="*/ 47 h 102"/>
                <a:gd name="T34" fmla="*/ 196 w 218"/>
                <a:gd name="T35" fmla="*/ 42 h 102"/>
                <a:gd name="T36" fmla="*/ 212 w 218"/>
                <a:gd name="T37" fmla="*/ 36 h 102"/>
                <a:gd name="T38" fmla="*/ 227 w 218"/>
                <a:gd name="T39" fmla="*/ 26 h 102"/>
                <a:gd name="T40" fmla="*/ 243 w 218"/>
                <a:gd name="T41" fmla="*/ 15 h 102"/>
                <a:gd name="T42" fmla="*/ 246 w 218"/>
                <a:gd name="T43" fmla="*/ 11 h 102"/>
                <a:gd name="T44" fmla="*/ 265 w 218"/>
                <a:gd name="T45" fmla="*/ 15 h 102"/>
                <a:gd name="T46" fmla="*/ 277 w 218"/>
                <a:gd name="T47" fmla="*/ 2 h 102"/>
                <a:gd name="T48" fmla="*/ 303 w 218"/>
                <a:gd name="T49" fmla="*/ 11 h 102"/>
                <a:gd name="T50" fmla="*/ 332 w 218"/>
                <a:gd name="T51" fmla="*/ 21 h 102"/>
                <a:gd name="T52" fmla="*/ 353 w 218"/>
                <a:gd name="T53" fmla="*/ 2 h 102"/>
                <a:gd name="T54" fmla="*/ 378 w 218"/>
                <a:gd name="T55" fmla="*/ 0 h 102"/>
                <a:gd name="T56" fmla="*/ 392 w 218"/>
                <a:gd name="T57" fmla="*/ 26 h 102"/>
                <a:gd name="T58" fmla="*/ 414 w 218"/>
                <a:gd name="T59" fmla="*/ 36 h 102"/>
                <a:gd name="T60" fmla="*/ 414 w 218"/>
                <a:gd name="T61" fmla="*/ 58 h 102"/>
                <a:gd name="T62" fmla="*/ 453 w 218"/>
                <a:gd name="T63" fmla="*/ 58 h 102"/>
                <a:gd name="T64" fmla="*/ 469 w 218"/>
                <a:gd name="T65" fmla="*/ 36 h 102"/>
                <a:gd name="T66" fmla="*/ 520 w 218"/>
                <a:gd name="T67" fmla="*/ 26 h 102"/>
                <a:gd name="T68" fmla="*/ 580 w 218"/>
                <a:gd name="T69" fmla="*/ 42 h 102"/>
                <a:gd name="T70" fmla="*/ 610 w 218"/>
                <a:gd name="T71" fmla="*/ 21 h 102"/>
                <a:gd name="T72" fmla="*/ 681 w 218"/>
                <a:gd name="T73" fmla="*/ 15 h 102"/>
                <a:gd name="T74" fmla="*/ 731 w 218"/>
                <a:gd name="T75" fmla="*/ 42 h 102"/>
                <a:gd name="T76" fmla="*/ 771 w 218"/>
                <a:gd name="T77" fmla="*/ 64 h 102"/>
                <a:gd name="T78" fmla="*/ 755 w 218"/>
                <a:gd name="T79" fmla="*/ 184 h 102"/>
                <a:gd name="T80" fmla="*/ 685 w 218"/>
                <a:gd name="T81" fmla="*/ 181 h 102"/>
                <a:gd name="T82" fmla="*/ 580 w 218"/>
                <a:gd name="T83" fmla="*/ 160 h 102"/>
                <a:gd name="T84" fmla="*/ 469 w 218"/>
                <a:gd name="T85" fmla="*/ 216 h 102"/>
                <a:gd name="T86" fmla="*/ 401 w 218"/>
                <a:gd name="T87" fmla="*/ 216 h 102"/>
                <a:gd name="T88" fmla="*/ 316 w 218"/>
                <a:gd name="T89" fmla="*/ 228 h 102"/>
                <a:gd name="T90" fmla="*/ 277 w 218"/>
                <a:gd name="T91" fmla="*/ 269 h 102"/>
                <a:gd name="T92" fmla="*/ 143 w 218"/>
                <a:gd name="T93" fmla="*/ 267 h 102"/>
                <a:gd name="T94" fmla="*/ 76 w 218"/>
                <a:gd name="T95" fmla="*/ 240 h 102"/>
                <a:gd name="T96" fmla="*/ 14 w 218"/>
                <a:gd name="T97" fmla="*/ 213 h 102"/>
                <a:gd name="T98" fmla="*/ 2 w 218"/>
                <a:gd name="T99" fmla="*/ 154 h 102"/>
                <a:gd name="T100" fmla="*/ 2 w 218"/>
                <a:gd name="T101" fmla="*/ 149 h 10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18"/>
                <a:gd name="T154" fmla="*/ 0 h 102"/>
                <a:gd name="T155" fmla="*/ 218 w 218"/>
                <a:gd name="T156" fmla="*/ 102 h 10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18" h="102">
                  <a:moveTo>
                    <a:pt x="2" y="56"/>
                  </a:moveTo>
                  <a:lnTo>
                    <a:pt x="2" y="54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6" y="46"/>
                  </a:lnTo>
                  <a:lnTo>
                    <a:pt x="8" y="44"/>
                  </a:lnTo>
                  <a:lnTo>
                    <a:pt x="8" y="42"/>
                  </a:lnTo>
                  <a:lnTo>
                    <a:pt x="10" y="42"/>
                  </a:lnTo>
                  <a:lnTo>
                    <a:pt x="12" y="40"/>
                  </a:lnTo>
                  <a:lnTo>
                    <a:pt x="14" y="42"/>
                  </a:lnTo>
                  <a:lnTo>
                    <a:pt x="16" y="44"/>
                  </a:lnTo>
                  <a:lnTo>
                    <a:pt x="20" y="44"/>
                  </a:lnTo>
                  <a:lnTo>
                    <a:pt x="20" y="42"/>
                  </a:lnTo>
                  <a:lnTo>
                    <a:pt x="22" y="42"/>
                  </a:lnTo>
                  <a:lnTo>
                    <a:pt x="22" y="44"/>
                  </a:lnTo>
                  <a:lnTo>
                    <a:pt x="24" y="44"/>
                  </a:lnTo>
                  <a:lnTo>
                    <a:pt x="26" y="44"/>
                  </a:lnTo>
                  <a:lnTo>
                    <a:pt x="28" y="42"/>
                  </a:lnTo>
                  <a:lnTo>
                    <a:pt x="30" y="42"/>
                  </a:lnTo>
                  <a:lnTo>
                    <a:pt x="32" y="40"/>
                  </a:lnTo>
                  <a:lnTo>
                    <a:pt x="34" y="40"/>
                  </a:lnTo>
                  <a:lnTo>
                    <a:pt x="34" y="38"/>
                  </a:lnTo>
                  <a:lnTo>
                    <a:pt x="36" y="38"/>
                  </a:lnTo>
                  <a:lnTo>
                    <a:pt x="38" y="38"/>
                  </a:lnTo>
                  <a:lnTo>
                    <a:pt x="38" y="36"/>
                  </a:lnTo>
                  <a:lnTo>
                    <a:pt x="40" y="34"/>
                  </a:lnTo>
                  <a:lnTo>
                    <a:pt x="40" y="32"/>
                  </a:lnTo>
                  <a:lnTo>
                    <a:pt x="42" y="32"/>
                  </a:lnTo>
                  <a:lnTo>
                    <a:pt x="44" y="32"/>
                  </a:lnTo>
                  <a:lnTo>
                    <a:pt x="46" y="30"/>
                  </a:lnTo>
                  <a:lnTo>
                    <a:pt x="48" y="26"/>
                  </a:lnTo>
                  <a:lnTo>
                    <a:pt x="48" y="24"/>
                  </a:lnTo>
                  <a:lnTo>
                    <a:pt x="48" y="20"/>
                  </a:lnTo>
                  <a:lnTo>
                    <a:pt x="50" y="18"/>
                  </a:lnTo>
                  <a:lnTo>
                    <a:pt x="50" y="16"/>
                  </a:lnTo>
                  <a:lnTo>
                    <a:pt x="52" y="16"/>
                  </a:lnTo>
                  <a:lnTo>
                    <a:pt x="54" y="16"/>
                  </a:lnTo>
                  <a:lnTo>
                    <a:pt x="56" y="14"/>
                  </a:lnTo>
                  <a:lnTo>
                    <a:pt x="58" y="12"/>
                  </a:lnTo>
                  <a:lnTo>
                    <a:pt x="60" y="10"/>
                  </a:lnTo>
                  <a:lnTo>
                    <a:pt x="62" y="8"/>
                  </a:lnTo>
                  <a:lnTo>
                    <a:pt x="64" y="6"/>
                  </a:lnTo>
                  <a:lnTo>
                    <a:pt x="64" y="4"/>
                  </a:lnTo>
                  <a:lnTo>
                    <a:pt x="66" y="4"/>
                  </a:lnTo>
                  <a:lnTo>
                    <a:pt x="70" y="4"/>
                  </a:lnTo>
                  <a:lnTo>
                    <a:pt x="70" y="6"/>
                  </a:lnTo>
                  <a:lnTo>
                    <a:pt x="72" y="4"/>
                  </a:lnTo>
                  <a:lnTo>
                    <a:pt x="74" y="2"/>
                  </a:lnTo>
                  <a:lnTo>
                    <a:pt x="80" y="4"/>
                  </a:lnTo>
                  <a:lnTo>
                    <a:pt x="80" y="10"/>
                  </a:lnTo>
                  <a:lnTo>
                    <a:pt x="88" y="8"/>
                  </a:lnTo>
                  <a:lnTo>
                    <a:pt x="90" y="2"/>
                  </a:lnTo>
                  <a:lnTo>
                    <a:pt x="94" y="2"/>
                  </a:lnTo>
                  <a:lnTo>
                    <a:pt x="94" y="0"/>
                  </a:lnTo>
                  <a:lnTo>
                    <a:pt x="100" y="0"/>
                  </a:lnTo>
                  <a:lnTo>
                    <a:pt x="104" y="6"/>
                  </a:lnTo>
                  <a:lnTo>
                    <a:pt x="104" y="10"/>
                  </a:lnTo>
                  <a:lnTo>
                    <a:pt x="110" y="10"/>
                  </a:lnTo>
                  <a:lnTo>
                    <a:pt x="110" y="14"/>
                  </a:lnTo>
                  <a:lnTo>
                    <a:pt x="110" y="16"/>
                  </a:lnTo>
                  <a:lnTo>
                    <a:pt x="110" y="22"/>
                  </a:lnTo>
                  <a:lnTo>
                    <a:pt x="118" y="20"/>
                  </a:lnTo>
                  <a:lnTo>
                    <a:pt x="120" y="22"/>
                  </a:lnTo>
                  <a:lnTo>
                    <a:pt x="122" y="20"/>
                  </a:lnTo>
                  <a:lnTo>
                    <a:pt x="124" y="14"/>
                  </a:lnTo>
                  <a:lnTo>
                    <a:pt x="134" y="8"/>
                  </a:lnTo>
                  <a:lnTo>
                    <a:pt x="138" y="10"/>
                  </a:lnTo>
                  <a:lnTo>
                    <a:pt x="146" y="10"/>
                  </a:lnTo>
                  <a:lnTo>
                    <a:pt x="154" y="16"/>
                  </a:lnTo>
                  <a:lnTo>
                    <a:pt x="160" y="12"/>
                  </a:lnTo>
                  <a:lnTo>
                    <a:pt x="162" y="8"/>
                  </a:lnTo>
                  <a:lnTo>
                    <a:pt x="170" y="8"/>
                  </a:lnTo>
                  <a:lnTo>
                    <a:pt x="180" y="6"/>
                  </a:lnTo>
                  <a:lnTo>
                    <a:pt x="182" y="10"/>
                  </a:lnTo>
                  <a:lnTo>
                    <a:pt x="194" y="16"/>
                  </a:lnTo>
                  <a:lnTo>
                    <a:pt x="196" y="20"/>
                  </a:lnTo>
                  <a:lnTo>
                    <a:pt x="204" y="24"/>
                  </a:lnTo>
                  <a:lnTo>
                    <a:pt x="218" y="32"/>
                  </a:lnTo>
                  <a:lnTo>
                    <a:pt x="200" y="70"/>
                  </a:lnTo>
                  <a:lnTo>
                    <a:pt x="188" y="72"/>
                  </a:lnTo>
                  <a:lnTo>
                    <a:pt x="182" y="68"/>
                  </a:lnTo>
                  <a:lnTo>
                    <a:pt x="172" y="60"/>
                  </a:lnTo>
                  <a:lnTo>
                    <a:pt x="154" y="60"/>
                  </a:lnTo>
                  <a:lnTo>
                    <a:pt x="142" y="62"/>
                  </a:lnTo>
                  <a:lnTo>
                    <a:pt x="124" y="82"/>
                  </a:lnTo>
                  <a:lnTo>
                    <a:pt x="116" y="82"/>
                  </a:lnTo>
                  <a:lnTo>
                    <a:pt x="106" y="82"/>
                  </a:lnTo>
                  <a:lnTo>
                    <a:pt x="98" y="82"/>
                  </a:lnTo>
                  <a:lnTo>
                    <a:pt x="84" y="86"/>
                  </a:lnTo>
                  <a:lnTo>
                    <a:pt x="80" y="86"/>
                  </a:lnTo>
                  <a:lnTo>
                    <a:pt x="74" y="102"/>
                  </a:lnTo>
                  <a:lnTo>
                    <a:pt x="46" y="100"/>
                  </a:lnTo>
                  <a:lnTo>
                    <a:pt x="38" y="100"/>
                  </a:lnTo>
                  <a:lnTo>
                    <a:pt x="28" y="94"/>
                  </a:lnTo>
                  <a:lnTo>
                    <a:pt x="20" y="90"/>
                  </a:lnTo>
                  <a:lnTo>
                    <a:pt x="16" y="94"/>
                  </a:lnTo>
                  <a:lnTo>
                    <a:pt x="4" y="80"/>
                  </a:lnTo>
                  <a:lnTo>
                    <a:pt x="0" y="74"/>
                  </a:lnTo>
                  <a:lnTo>
                    <a:pt x="2" y="58"/>
                  </a:lnTo>
                  <a:lnTo>
                    <a:pt x="2" y="56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" name="Freeform 29">
              <a:extLst>
                <a:ext uri="{FF2B5EF4-FFF2-40B4-BE49-F238E27FC236}">
                  <a16:creationId xmlns:a16="http://schemas.microsoft.com/office/drawing/2014/main" id="{4538972D-DE13-4C60-9A58-80E5E9EC21E2}"/>
                </a:ext>
              </a:extLst>
            </p:cNvPr>
            <p:cNvSpPr>
              <a:spLocks/>
            </p:cNvSpPr>
            <p:nvPr/>
          </p:nvSpPr>
          <p:spPr bwMode="gray">
            <a:xfrm>
              <a:off x="3429666" y="3154202"/>
              <a:ext cx="2683976" cy="1885815"/>
            </a:xfrm>
            <a:custGeom>
              <a:avLst/>
              <a:gdLst>
                <a:gd name="T0" fmla="*/ 387 w 260"/>
                <a:gd name="T1" fmla="*/ 388 h 160"/>
                <a:gd name="T2" fmla="*/ 350 w 260"/>
                <a:gd name="T3" fmla="*/ 403 h 160"/>
                <a:gd name="T4" fmla="*/ 318 w 260"/>
                <a:gd name="T5" fmla="*/ 403 h 160"/>
                <a:gd name="T6" fmla="*/ 270 w 260"/>
                <a:gd name="T7" fmla="*/ 408 h 160"/>
                <a:gd name="T8" fmla="*/ 231 w 260"/>
                <a:gd name="T9" fmla="*/ 403 h 160"/>
                <a:gd name="T10" fmla="*/ 157 w 260"/>
                <a:gd name="T11" fmla="*/ 358 h 160"/>
                <a:gd name="T12" fmla="*/ 57 w 260"/>
                <a:gd name="T13" fmla="*/ 321 h 160"/>
                <a:gd name="T14" fmla="*/ 39 w 260"/>
                <a:gd name="T15" fmla="*/ 306 h 160"/>
                <a:gd name="T16" fmla="*/ 16 w 260"/>
                <a:gd name="T17" fmla="*/ 285 h 160"/>
                <a:gd name="T18" fmla="*/ 0 w 260"/>
                <a:gd name="T19" fmla="*/ 250 h 160"/>
                <a:gd name="T20" fmla="*/ 25 w 260"/>
                <a:gd name="T21" fmla="*/ 229 h 160"/>
                <a:gd name="T22" fmla="*/ 31 w 260"/>
                <a:gd name="T23" fmla="*/ 209 h 160"/>
                <a:gd name="T24" fmla="*/ 16 w 260"/>
                <a:gd name="T25" fmla="*/ 198 h 160"/>
                <a:gd name="T26" fmla="*/ 25 w 260"/>
                <a:gd name="T27" fmla="*/ 172 h 160"/>
                <a:gd name="T28" fmla="*/ 48 w 260"/>
                <a:gd name="T29" fmla="*/ 168 h 160"/>
                <a:gd name="T30" fmla="*/ 57 w 260"/>
                <a:gd name="T31" fmla="*/ 153 h 160"/>
                <a:gd name="T32" fmla="*/ 48 w 260"/>
                <a:gd name="T33" fmla="*/ 143 h 160"/>
                <a:gd name="T34" fmla="*/ 16 w 260"/>
                <a:gd name="T35" fmla="*/ 138 h 160"/>
                <a:gd name="T36" fmla="*/ 31 w 260"/>
                <a:gd name="T37" fmla="*/ 126 h 160"/>
                <a:gd name="T38" fmla="*/ 57 w 260"/>
                <a:gd name="T39" fmla="*/ 126 h 160"/>
                <a:gd name="T40" fmla="*/ 72 w 260"/>
                <a:gd name="T41" fmla="*/ 132 h 160"/>
                <a:gd name="T42" fmla="*/ 118 w 260"/>
                <a:gd name="T43" fmla="*/ 132 h 160"/>
                <a:gd name="T44" fmla="*/ 118 w 260"/>
                <a:gd name="T45" fmla="*/ 106 h 160"/>
                <a:gd name="T46" fmla="*/ 157 w 260"/>
                <a:gd name="T47" fmla="*/ 88 h 160"/>
                <a:gd name="T48" fmla="*/ 172 w 260"/>
                <a:gd name="T49" fmla="*/ 76 h 160"/>
                <a:gd name="T50" fmla="*/ 206 w 260"/>
                <a:gd name="T51" fmla="*/ 88 h 160"/>
                <a:gd name="T52" fmla="*/ 245 w 260"/>
                <a:gd name="T53" fmla="*/ 103 h 160"/>
                <a:gd name="T54" fmla="*/ 278 w 260"/>
                <a:gd name="T55" fmla="*/ 103 h 160"/>
                <a:gd name="T56" fmla="*/ 387 w 260"/>
                <a:gd name="T57" fmla="*/ 106 h 160"/>
                <a:gd name="T58" fmla="*/ 415 w 260"/>
                <a:gd name="T59" fmla="*/ 65 h 160"/>
                <a:gd name="T60" fmla="*/ 428 w 260"/>
                <a:gd name="T61" fmla="*/ 65 h 160"/>
                <a:gd name="T62" fmla="*/ 479 w 260"/>
                <a:gd name="T63" fmla="*/ 56 h 160"/>
                <a:gd name="T64" fmla="*/ 516 w 260"/>
                <a:gd name="T65" fmla="*/ 56 h 160"/>
                <a:gd name="T66" fmla="*/ 553 w 260"/>
                <a:gd name="T67" fmla="*/ 56 h 160"/>
                <a:gd name="T68" fmla="*/ 585 w 260"/>
                <a:gd name="T69" fmla="*/ 56 h 160"/>
                <a:gd name="T70" fmla="*/ 658 w 260"/>
                <a:gd name="T71" fmla="*/ 2 h 160"/>
                <a:gd name="T72" fmla="*/ 706 w 260"/>
                <a:gd name="T73" fmla="*/ 0 h 160"/>
                <a:gd name="T74" fmla="*/ 779 w 260"/>
                <a:gd name="T75" fmla="*/ 0 h 160"/>
                <a:gd name="T76" fmla="*/ 816 w 260"/>
                <a:gd name="T77" fmla="*/ 21 h 160"/>
                <a:gd name="T78" fmla="*/ 841 w 260"/>
                <a:gd name="T79" fmla="*/ 30 h 160"/>
                <a:gd name="T80" fmla="*/ 888 w 260"/>
                <a:gd name="T81" fmla="*/ 26 h 160"/>
                <a:gd name="T82" fmla="*/ 894 w 260"/>
                <a:gd name="T83" fmla="*/ 26 h 160"/>
                <a:gd name="T84" fmla="*/ 941 w 260"/>
                <a:gd name="T85" fmla="*/ 47 h 160"/>
                <a:gd name="T86" fmla="*/ 981 w 260"/>
                <a:gd name="T87" fmla="*/ 63 h 160"/>
                <a:gd name="T88" fmla="*/ 1028 w 260"/>
                <a:gd name="T89" fmla="*/ 88 h 160"/>
                <a:gd name="T90" fmla="*/ 999 w 260"/>
                <a:gd name="T91" fmla="*/ 106 h 160"/>
                <a:gd name="T92" fmla="*/ 919 w 260"/>
                <a:gd name="T93" fmla="*/ 122 h 160"/>
                <a:gd name="T94" fmla="*/ 878 w 260"/>
                <a:gd name="T95" fmla="*/ 153 h 160"/>
                <a:gd name="T96" fmla="*/ 816 w 260"/>
                <a:gd name="T97" fmla="*/ 244 h 160"/>
                <a:gd name="T98" fmla="*/ 767 w 260"/>
                <a:gd name="T99" fmla="*/ 300 h 160"/>
                <a:gd name="T100" fmla="*/ 719 w 260"/>
                <a:gd name="T101" fmla="*/ 334 h 160"/>
                <a:gd name="T102" fmla="*/ 696 w 260"/>
                <a:gd name="T103" fmla="*/ 347 h 160"/>
                <a:gd name="T104" fmla="*/ 643 w 260"/>
                <a:gd name="T105" fmla="*/ 347 h 160"/>
                <a:gd name="T106" fmla="*/ 625 w 260"/>
                <a:gd name="T107" fmla="*/ 358 h 160"/>
                <a:gd name="T108" fmla="*/ 610 w 260"/>
                <a:gd name="T109" fmla="*/ 358 h 160"/>
                <a:gd name="T110" fmla="*/ 553 w 260"/>
                <a:gd name="T111" fmla="*/ 351 h 160"/>
                <a:gd name="T112" fmla="*/ 492 w 260"/>
                <a:gd name="T113" fmla="*/ 358 h 160"/>
                <a:gd name="T114" fmla="*/ 387 w 260"/>
                <a:gd name="T115" fmla="*/ 388 h 160"/>
                <a:gd name="T116" fmla="*/ 387 w 260"/>
                <a:gd name="T117" fmla="*/ 388 h 16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60"/>
                <a:gd name="T178" fmla="*/ 0 h 160"/>
                <a:gd name="T179" fmla="*/ 260 w 260"/>
                <a:gd name="T180" fmla="*/ 160 h 16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60" h="160">
                  <a:moveTo>
                    <a:pt x="98" y="152"/>
                  </a:moveTo>
                  <a:lnTo>
                    <a:pt x="88" y="158"/>
                  </a:lnTo>
                  <a:lnTo>
                    <a:pt x="80" y="158"/>
                  </a:lnTo>
                  <a:lnTo>
                    <a:pt x="68" y="160"/>
                  </a:lnTo>
                  <a:lnTo>
                    <a:pt x="58" y="158"/>
                  </a:lnTo>
                  <a:lnTo>
                    <a:pt x="40" y="140"/>
                  </a:lnTo>
                  <a:lnTo>
                    <a:pt x="14" y="126"/>
                  </a:lnTo>
                  <a:lnTo>
                    <a:pt x="10" y="120"/>
                  </a:lnTo>
                  <a:lnTo>
                    <a:pt x="4" y="112"/>
                  </a:lnTo>
                  <a:lnTo>
                    <a:pt x="0" y="98"/>
                  </a:lnTo>
                  <a:lnTo>
                    <a:pt x="6" y="90"/>
                  </a:lnTo>
                  <a:lnTo>
                    <a:pt x="8" y="82"/>
                  </a:lnTo>
                  <a:lnTo>
                    <a:pt x="4" y="78"/>
                  </a:lnTo>
                  <a:lnTo>
                    <a:pt x="6" y="68"/>
                  </a:lnTo>
                  <a:lnTo>
                    <a:pt x="12" y="66"/>
                  </a:lnTo>
                  <a:lnTo>
                    <a:pt x="14" y="60"/>
                  </a:lnTo>
                  <a:lnTo>
                    <a:pt x="12" y="56"/>
                  </a:lnTo>
                  <a:lnTo>
                    <a:pt x="4" y="54"/>
                  </a:lnTo>
                  <a:lnTo>
                    <a:pt x="8" y="50"/>
                  </a:lnTo>
                  <a:lnTo>
                    <a:pt x="14" y="50"/>
                  </a:lnTo>
                  <a:lnTo>
                    <a:pt x="18" y="52"/>
                  </a:lnTo>
                  <a:lnTo>
                    <a:pt x="30" y="52"/>
                  </a:lnTo>
                  <a:lnTo>
                    <a:pt x="30" y="42"/>
                  </a:lnTo>
                  <a:lnTo>
                    <a:pt x="40" y="34"/>
                  </a:lnTo>
                  <a:lnTo>
                    <a:pt x="44" y="30"/>
                  </a:lnTo>
                  <a:lnTo>
                    <a:pt x="52" y="34"/>
                  </a:lnTo>
                  <a:lnTo>
                    <a:pt x="62" y="40"/>
                  </a:lnTo>
                  <a:lnTo>
                    <a:pt x="70" y="40"/>
                  </a:lnTo>
                  <a:lnTo>
                    <a:pt x="98" y="42"/>
                  </a:lnTo>
                  <a:lnTo>
                    <a:pt x="104" y="26"/>
                  </a:lnTo>
                  <a:lnTo>
                    <a:pt x="108" y="26"/>
                  </a:lnTo>
                  <a:lnTo>
                    <a:pt x="122" y="22"/>
                  </a:lnTo>
                  <a:lnTo>
                    <a:pt x="130" y="22"/>
                  </a:lnTo>
                  <a:lnTo>
                    <a:pt x="140" y="22"/>
                  </a:lnTo>
                  <a:lnTo>
                    <a:pt x="148" y="22"/>
                  </a:lnTo>
                  <a:lnTo>
                    <a:pt x="166" y="2"/>
                  </a:lnTo>
                  <a:lnTo>
                    <a:pt x="178" y="0"/>
                  </a:lnTo>
                  <a:lnTo>
                    <a:pt x="196" y="0"/>
                  </a:lnTo>
                  <a:lnTo>
                    <a:pt x="206" y="8"/>
                  </a:lnTo>
                  <a:lnTo>
                    <a:pt x="212" y="12"/>
                  </a:lnTo>
                  <a:lnTo>
                    <a:pt x="224" y="10"/>
                  </a:lnTo>
                  <a:lnTo>
                    <a:pt x="226" y="10"/>
                  </a:lnTo>
                  <a:lnTo>
                    <a:pt x="238" y="18"/>
                  </a:lnTo>
                  <a:lnTo>
                    <a:pt x="248" y="24"/>
                  </a:lnTo>
                  <a:lnTo>
                    <a:pt x="260" y="34"/>
                  </a:lnTo>
                  <a:lnTo>
                    <a:pt x="252" y="42"/>
                  </a:lnTo>
                  <a:lnTo>
                    <a:pt x="232" y="48"/>
                  </a:lnTo>
                  <a:lnTo>
                    <a:pt x="222" y="60"/>
                  </a:lnTo>
                  <a:lnTo>
                    <a:pt x="206" y="96"/>
                  </a:lnTo>
                  <a:lnTo>
                    <a:pt x="194" y="118"/>
                  </a:lnTo>
                  <a:lnTo>
                    <a:pt x="182" y="132"/>
                  </a:lnTo>
                  <a:lnTo>
                    <a:pt x="176" y="136"/>
                  </a:lnTo>
                  <a:lnTo>
                    <a:pt x="162" y="136"/>
                  </a:lnTo>
                  <a:lnTo>
                    <a:pt x="158" y="140"/>
                  </a:lnTo>
                  <a:lnTo>
                    <a:pt x="154" y="140"/>
                  </a:lnTo>
                  <a:lnTo>
                    <a:pt x="140" y="138"/>
                  </a:lnTo>
                  <a:lnTo>
                    <a:pt x="124" y="140"/>
                  </a:lnTo>
                  <a:lnTo>
                    <a:pt x="98" y="152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5" name="Freeform 34">
              <a:extLst>
                <a:ext uri="{FF2B5EF4-FFF2-40B4-BE49-F238E27FC236}">
                  <a16:creationId xmlns:a16="http://schemas.microsoft.com/office/drawing/2014/main" id="{201D3820-02F6-418B-8B66-1A0A4D1F6650}"/>
                </a:ext>
              </a:extLst>
            </p:cNvPr>
            <p:cNvSpPr>
              <a:spLocks/>
            </p:cNvSpPr>
            <p:nvPr/>
          </p:nvSpPr>
          <p:spPr bwMode="gray">
            <a:xfrm>
              <a:off x="5032186" y="3359712"/>
              <a:ext cx="3716278" cy="2949608"/>
            </a:xfrm>
            <a:custGeom>
              <a:avLst/>
              <a:gdLst>
                <a:gd name="T0" fmla="*/ 16 w 362"/>
                <a:gd name="T1" fmla="*/ 318 h 250"/>
                <a:gd name="T2" fmla="*/ 86 w 362"/>
                <a:gd name="T3" fmla="*/ 306 h 250"/>
                <a:gd name="T4" fmla="*/ 155 w 362"/>
                <a:gd name="T5" fmla="*/ 260 h 250"/>
                <a:gd name="T6" fmla="*/ 260 w 362"/>
                <a:gd name="T7" fmla="*/ 109 h 250"/>
                <a:gd name="T8" fmla="*/ 379 w 362"/>
                <a:gd name="T9" fmla="*/ 63 h 250"/>
                <a:gd name="T10" fmla="*/ 413 w 362"/>
                <a:gd name="T11" fmla="*/ 35 h 250"/>
                <a:gd name="T12" fmla="*/ 486 w 362"/>
                <a:gd name="T13" fmla="*/ 35 h 250"/>
                <a:gd name="T14" fmla="*/ 623 w 362"/>
                <a:gd name="T15" fmla="*/ 53 h 250"/>
                <a:gd name="T16" fmla="*/ 646 w 362"/>
                <a:gd name="T17" fmla="*/ 66 h 250"/>
                <a:gd name="T18" fmla="*/ 673 w 362"/>
                <a:gd name="T19" fmla="*/ 77 h 250"/>
                <a:gd name="T20" fmla="*/ 716 w 362"/>
                <a:gd name="T21" fmla="*/ 66 h 250"/>
                <a:gd name="T22" fmla="*/ 858 w 362"/>
                <a:gd name="T23" fmla="*/ 41 h 250"/>
                <a:gd name="T24" fmla="*/ 890 w 362"/>
                <a:gd name="T25" fmla="*/ 2 h 250"/>
                <a:gd name="T26" fmla="*/ 945 w 362"/>
                <a:gd name="T27" fmla="*/ 0 h 250"/>
                <a:gd name="T28" fmla="*/ 1036 w 362"/>
                <a:gd name="T29" fmla="*/ 93 h 250"/>
                <a:gd name="T30" fmla="*/ 1151 w 362"/>
                <a:gd name="T31" fmla="*/ 185 h 250"/>
                <a:gd name="T32" fmla="*/ 1169 w 362"/>
                <a:gd name="T33" fmla="*/ 265 h 250"/>
                <a:gd name="T34" fmla="*/ 1160 w 362"/>
                <a:gd name="T35" fmla="*/ 368 h 250"/>
                <a:gd name="T36" fmla="*/ 1145 w 362"/>
                <a:gd name="T37" fmla="*/ 388 h 250"/>
                <a:gd name="T38" fmla="*/ 1169 w 362"/>
                <a:gd name="T39" fmla="*/ 409 h 250"/>
                <a:gd name="T40" fmla="*/ 1175 w 362"/>
                <a:gd name="T41" fmla="*/ 409 h 250"/>
                <a:gd name="T42" fmla="*/ 1210 w 362"/>
                <a:gd name="T43" fmla="*/ 437 h 250"/>
                <a:gd name="T44" fmla="*/ 1253 w 362"/>
                <a:gd name="T45" fmla="*/ 424 h 250"/>
                <a:gd name="T46" fmla="*/ 1328 w 362"/>
                <a:gd name="T47" fmla="*/ 409 h 250"/>
                <a:gd name="T48" fmla="*/ 1382 w 362"/>
                <a:gd name="T49" fmla="*/ 421 h 250"/>
                <a:gd name="T50" fmla="*/ 1365 w 362"/>
                <a:gd name="T51" fmla="*/ 465 h 250"/>
                <a:gd name="T52" fmla="*/ 1319 w 362"/>
                <a:gd name="T53" fmla="*/ 493 h 250"/>
                <a:gd name="T54" fmla="*/ 1271 w 362"/>
                <a:gd name="T55" fmla="*/ 509 h 250"/>
                <a:gd name="T56" fmla="*/ 1221 w 362"/>
                <a:gd name="T57" fmla="*/ 586 h 250"/>
                <a:gd name="T58" fmla="*/ 1210 w 362"/>
                <a:gd name="T59" fmla="*/ 647 h 250"/>
                <a:gd name="T60" fmla="*/ 1074 w 362"/>
                <a:gd name="T61" fmla="*/ 621 h 250"/>
                <a:gd name="T62" fmla="*/ 1022 w 362"/>
                <a:gd name="T63" fmla="*/ 606 h 250"/>
                <a:gd name="T64" fmla="*/ 945 w 362"/>
                <a:gd name="T65" fmla="*/ 581 h 250"/>
                <a:gd name="T66" fmla="*/ 778 w 362"/>
                <a:gd name="T67" fmla="*/ 645 h 250"/>
                <a:gd name="T68" fmla="*/ 661 w 362"/>
                <a:gd name="T69" fmla="*/ 621 h 250"/>
                <a:gd name="T70" fmla="*/ 593 w 362"/>
                <a:gd name="T71" fmla="*/ 638 h 250"/>
                <a:gd name="T72" fmla="*/ 491 w 362"/>
                <a:gd name="T73" fmla="*/ 616 h 250"/>
                <a:gd name="T74" fmla="*/ 407 w 362"/>
                <a:gd name="T75" fmla="*/ 628 h 250"/>
                <a:gd name="T76" fmla="*/ 392 w 362"/>
                <a:gd name="T77" fmla="*/ 616 h 250"/>
                <a:gd name="T78" fmla="*/ 382 w 362"/>
                <a:gd name="T79" fmla="*/ 591 h 250"/>
                <a:gd name="T80" fmla="*/ 322 w 362"/>
                <a:gd name="T81" fmla="*/ 564 h 250"/>
                <a:gd name="T82" fmla="*/ 338 w 362"/>
                <a:gd name="T83" fmla="*/ 533 h 250"/>
                <a:gd name="T84" fmla="*/ 353 w 362"/>
                <a:gd name="T85" fmla="*/ 527 h 250"/>
                <a:gd name="T86" fmla="*/ 303 w 362"/>
                <a:gd name="T87" fmla="*/ 517 h 250"/>
                <a:gd name="T88" fmla="*/ 275 w 362"/>
                <a:gd name="T89" fmla="*/ 544 h 250"/>
                <a:gd name="T90" fmla="*/ 232 w 362"/>
                <a:gd name="T91" fmla="*/ 517 h 250"/>
                <a:gd name="T92" fmla="*/ 194 w 362"/>
                <a:gd name="T93" fmla="*/ 503 h 250"/>
                <a:gd name="T94" fmla="*/ 163 w 362"/>
                <a:gd name="T95" fmla="*/ 503 h 250"/>
                <a:gd name="T96" fmla="*/ 169 w 362"/>
                <a:gd name="T97" fmla="*/ 486 h 250"/>
                <a:gd name="T98" fmla="*/ 169 w 362"/>
                <a:gd name="T99" fmla="*/ 478 h 250"/>
                <a:gd name="T100" fmla="*/ 169 w 362"/>
                <a:gd name="T101" fmla="*/ 462 h 250"/>
                <a:gd name="T102" fmla="*/ 179 w 362"/>
                <a:gd name="T103" fmla="*/ 448 h 250"/>
                <a:gd name="T104" fmla="*/ 118 w 362"/>
                <a:gd name="T105" fmla="*/ 431 h 250"/>
                <a:gd name="T106" fmla="*/ 76 w 362"/>
                <a:gd name="T107" fmla="*/ 394 h 250"/>
                <a:gd name="T108" fmla="*/ 70 w 362"/>
                <a:gd name="T109" fmla="*/ 362 h 250"/>
                <a:gd name="T110" fmla="*/ 48 w 362"/>
                <a:gd name="T111" fmla="*/ 348 h 250"/>
                <a:gd name="T112" fmla="*/ 0 w 362"/>
                <a:gd name="T113" fmla="*/ 318 h 25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62"/>
                <a:gd name="T172" fmla="*/ 0 h 250"/>
                <a:gd name="T173" fmla="*/ 362 w 362"/>
                <a:gd name="T174" fmla="*/ 250 h 25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62" h="250">
                  <a:moveTo>
                    <a:pt x="0" y="122"/>
                  </a:moveTo>
                  <a:lnTo>
                    <a:pt x="4" y="122"/>
                  </a:lnTo>
                  <a:lnTo>
                    <a:pt x="8" y="118"/>
                  </a:lnTo>
                  <a:lnTo>
                    <a:pt x="22" y="118"/>
                  </a:lnTo>
                  <a:lnTo>
                    <a:pt x="28" y="114"/>
                  </a:lnTo>
                  <a:lnTo>
                    <a:pt x="40" y="100"/>
                  </a:lnTo>
                  <a:lnTo>
                    <a:pt x="52" y="78"/>
                  </a:lnTo>
                  <a:lnTo>
                    <a:pt x="68" y="42"/>
                  </a:lnTo>
                  <a:lnTo>
                    <a:pt x="78" y="30"/>
                  </a:lnTo>
                  <a:lnTo>
                    <a:pt x="98" y="24"/>
                  </a:lnTo>
                  <a:lnTo>
                    <a:pt x="106" y="16"/>
                  </a:lnTo>
                  <a:lnTo>
                    <a:pt x="108" y="14"/>
                  </a:lnTo>
                  <a:lnTo>
                    <a:pt x="120" y="16"/>
                  </a:lnTo>
                  <a:lnTo>
                    <a:pt x="126" y="14"/>
                  </a:lnTo>
                  <a:lnTo>
                    <a:pt x="142" y="18"/>
                  </a:lnTo>
                  <a:lnTo>
                    <a:pt x="162" y="20"/>
                  </a:lnTo>
                  <a:lnTo>
                    <a:pt x="168" y="18"/>
                  </a:lnTo>
                  <a:lnTo>
                    <a:pt x="168" y="26"/>
                  </a:lnTo>
                  <a:lnTo>
                    <a:pt x="174" y="26"/>
                  </a:lnTo>
                  <a:lnTo>
                    <a:pt x="176" y="30"/>
                  </a:lnTo>
                  <a:lnTo>
                    <a:pt x="182" y="30"/>
                  </a:lnTo>
                  <a:lnTo>
                    <a:pt x="186" y="26"/>
                  </a:lnTo>
                  <a:lnTo>
                    <a:pt x="190" y="20"/>
                  </a:lnTo>
                  <a:lnTo>
                    <a:pt x="224" y="16"/>
                  </a:lnTo>
                  <a:lnTo>
                    <a:pt x="230" y="12"/>
                  </a:lnTo>
                  <a:lnTo>
                    <a:pt x="232" y="2"/>
                  </a:lnTo>
                  <a:lnTo>
                    <a:pt x="242" y="2"/>
                  </a:lnTo>
                  <a:lnTo>
                    <a:pt x="246" y="0"/>
                  </a:lnTo>
                  <a:lnTo>
                    <a:pt x="258" y="4"/>
                  </a:lnTo>
                  <a:lnTo>
                    <a:pt x="270" y="36"/>
                  </a:lnTo>
                  <a:lnTo>
                    <a:pt x="288" y="64"/>
                  </a:lnTo>
                  <a:lnTo>
                    <a:pt x="300" y="72"/>
                  </a:lnTo>
                  <a:lnTo>
                    <a:pt x="306" y="92"/>
                  </a:lnTo>
                  <a:lnTo>
                    <a:pt x="304" y="102"/>
                  </a:lnTo>
                  <a:lnTo>
                    <a:pt x="300" y="128"/>
                  </a:lnTo>
                  <a:lnTo>
                    <a:pt x="302" y="142"/>
                  </a:lnTo>
                  <a:lnTo>
                    <a:pt x="302" y="148"/>
                  </a:lnTo>
                  <a:lnTo>
                    <a:pt x="298" y="150"/>
                  </a:lnTo>
                  <a:lnTo>
                    <a:pt x="302" y="152"/>
                  </a:lnTo>
                  <a:lnTo>
                    <a:pt x="304" y="158"/>
                  </a:lnTo>
                  <a:lnTo>
                    <a:pt x="306" y="158"/>
                  </a:lnTo>
                  <a:lnTo>
                    <a:pt x="308" y="164"/>
                  </a:lnTo>
                  <a:lnTo>
                    <a:pt x="316" y="168"/>
                  </a:lnTo>
                  <a:lnTo>
                    <a:pt x="326" y="170"/>
                  </a:lnTo>
                  <a:lnTo>
                    <a:pt x="326" y="164"/>
                  </a:lnTo>
                  <a:lnTo>
                    <a:pt x="334" y="164"/>
                  </a:lnTo>
                  <a:lnTo>
                    <a:pt x="346" y="158"/>
                  </a:lnTo>
                  <a:lnTo>
                    <a:pt x="358" y="160"/>
                  </a:lnTo>
                  <a:lnTo>
                    <a:pt x="360" y="162"/>
                  </a:lnTo>
                  <a:lnTo>
                    <a:pt x="362" y="170"/>
                  </a:lnTo>
                  <a:lnTo>
                    <a:pt x="356" y="180"/>
                  </a:lnTo>
                  <a:lnTo>
                    <a:pt x="352" y="188"/>
                  </a:lnTo>
                  <a:lnTo>
                    <a:pt x="344" y="190"/>
                  </a:lnTo>
                  <a:lnTo>
                    <a:pt x="338" y="190"/>
                  </a:lnTo>
                  <a:lnTo>
                    <a:pt x="332" y="196"/>
                  </a:lnTo>
                  <a:lnTo>
                    <a:pt x="322" y="210"/>
                  </a:lnTo>
                  <a:lnTo>
                    <a:pt x="318" y="226"/>
                  </a:lnTo>
                  <a:lnTo>
                    <a:pt x="316" y="246"/>
                  </a:lnTo>
                  <a:lnTo>
                    <a:pt x="316" y="250"/>
                  </a:lnTo>
                  <a:lnTo>
                    <a:pt x="304" y="248"/>
                  </a:lnTo>
                  <a:lnTo>
                    <a:pt x="280" y="240"/>
                  </a:lnTo>
                  <a:lnTo>
                    <a:pt x="272" y="234"/>
                  </a:lnTo>
                  <a:lnTo>
                    <a:pt x="266" y="234"/>
                  </a:lnTo>
                  <a:lnTo>
                    <a:pt x="256" y="224"/>
                  </a:lnTo>
                  <a:lnTo>
                    <a:pt x="246" y="224"/>
                  </a:lnTo>
                  <a:lnTo>
                    <a:pt x="234" y="230"/>
                  </a:lnTo>
                  <a:lnTo>
                    <a:pt x="202" y="248"/>
                  </a:lnTo>
                  <a:lnTo>
                    <a:pt x="196" y="248"/>
                  </a:lnTo>
                  <a:lnTo>
                    <a:pt x="172" y="240"/>
                  </a:lnTo>
                  <a:lnTo>
                    <a:pt x="166" y="240"/>
                  </a:lnTo>
                  <a:lnTo>
                    <a:pt x="154" y="246"/>
                  </a:lnTo>
                  <a:lnTo>
                    <a:pt x="148" y="248"/>
                  </a:lnTo>
                  <a:lnTo>
                    <a:pt x="128" y="238"/>
                  </a:lnTo>
                  <a:lnTo>
                    <a:pt x="120" y="238"/>
                  </a:lnTo>
                  <a:lnTo>
                    <a:pt x="106" y="242"/>
                  </a:lnTo>
                  <a:lnTo>
                    <a:pt x="102" y="242"/>
                  </a:lnTo>
                  <a:lnTo>
                    <a:pt x="102" y="238"/>
                  </a:lnTo>
                  <a:lnTo>
                    <a:pt x="106" y="230"/>
                  </a:lnTo>
                  <a:lnTo>
                    <a:pt x="100" y="228"/>
                  </a:lnTo>
                  <a:lnTo>
                    <a:pt x="92" y="224"/>
                  </a:lnTo>
                  <a:lnTo>
                    <a:pt x="84" y="218"/>
                  </a:lnTo>
                  <a:lnTo>
                    <a:pt x="82" y="210"/>
                  </a:lnTo>
                  <a:lnTo>
                    <a:pt x="88" y="206"/>
                  </a:lnTo>
                  <a:lnTo>
                    <a:pt x="94" y="206"/>
                  </a:lnTo>
                  <a:lnTo>
                    <a:pt x="92" y="204"/>
                  </a:lnTo>
                  <a:lnTo>
                    <a:pt x="82" y="196"/>
                  </a:lnTo>
                  <a:lnTo>
                    <a:pt x="78" y="200"/>
                  </a:lnTo>
                  <a:lnTo>
                    <a:pt x="74" y="206"/>
                  </a:lnTo>
                  <a:lnTo>
                    <a:pt x="72" y="210"/>
                  </a:lnTo>
                  <a:lnTo>
                    <a:pt x="64" y="204"/>
                  </a:lnTo>
                  <a:lnTo>
                    <a:pt x="60" y="200"/>
                  </a:lnTo>
                  <a:lnTo>
                    <a:pt x="50" y="200"/>
                  </a:lnTo>
                  <a:lnTo>
                    <a:pt x="50" y="194"/>
                  </a:lnTo>
                  <a:lnTo>
                    <a:pt x="46" y="194"/>
                  </a:lnTo>
                  <a:lnTo>
                    <a:pt x="42" y="194"/>
                  </a:lnTo>
                  <a:lnTo>
                    <a:pt x="40" y="190"/>
                  </a:lnTo>
                  <a:lnTo>
                    <a:pt x="44" y="188"/>
                  </a:lnTo>
                  <a:lnTo>
                    <a:pt x="48" y="186"/>
                  </a:lnTo>
                  <a:lnTo>
                    <a:pt x="44" y="184"/>
                  </a:lnTo>
                  <a:lnTo>
                    <a:pt x="40" y="182"/>
                  </a:lnTo>
                  <a:lnTo>
                    <a:pt x="44" y="178"/>
                  </a:lnTo>
                  <a:lnTo>
                    <a:pt x="46" y="176"/>
                  </a:lnTo>
                  <a:lnTo>
                    <a:pt x="46" y="172"/>
                  </a:lnTo>
                  <a:lnTo>
                    <a:pt x="40" y="170"/>
                  </a:lnTo>
                  <a:lnTo>
                    <a:pt x="30" y="166"/>
                  </a:lnTo>
                  <a:lnTo>
                    <a:pt x="18" y="154"/>
                  </a:lnTo>
                  <a:lnTo>
                    <a:pt x="20" y="152"/>
                  </a:lnTo>
                  <a:lnTo>
                    <a:pt x="18" y="148"/>
                  </a:lnTo>
                  <a:lnTo>
                    <a:pt x="18" y="140"/>
                  </a:lnTo>
                  <a:lnTo>
                    <a:pt x="14" y="140"/>
                  </a:lnTo>
                  <a:lnTo>
                    <a:pt x="12" y="134"/>
                  </a:lnTo>
                  <a:lnTo>
                    <a:pt x="2" y="130"/>
                  </a:lnTo>
                  <a:lnTo>
                    <a:pt x="0" y="122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16" name="Ellipse 15">
            <a:extLst>
              <a:ext uri="{FF2B5EF4-FFF2-40B4-BE49-F238E27FC236}">
                <a16:creationId xmlns:a16="http://schemas.microsoft.com/office/drawing/2014/main" id="{4B0A1069-BD6A-4A29-AEFD-6145C75AA913}"/>
              </a:ext>
            </a:extLst>
          </p:cNvPr>
          <p:cNvSpPr/>
          <p:nvPr/>
        </p:nvSpPr>
        <p:spPr>
          <a:xfrm>
            <a:off x="5333726" y="2296147"/>
            <a:ext cx="30542" cy="28584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/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54AE56ED-32D0-4BFA-B49A-16383DEFB247}"/>
              </a:ext>
            </a:extLst>
          </p:cNvPr>
          <p:cNvSpPr/>
          <p:nvPr/>
        </p:nvSpPr>
        <p:spPr>
          <a:xfrm>
            <a:off x="4513142" y="2355965"/>
            <a:ext cx="30542" cy="28584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/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EDB70409-06BB-4D6A-88E5-855D73ED4BD9}"/>
              </a:ext>
            </a:extLst>
          </p:cNvPr>
          <p:cNvSpPr/>
          <p:nvPr/>
        </p:nvSpPr>
        <p:spPr>
          <a:xfrm>
            <a:off x="3770639" y="1990626"/>
            <a:ext cx="30542" cy="28584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/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C4DCBCA8-A903-4F8A-87E5-C2EAC350CF11}"/>
              </a:ext>
            </a:extLst>
          </p:cNvPr>
          <p:cNvSpPr/>
          <p:nvPr/>
        </p:nvSpPr>
        <p:spPr>
          <a:xfrm>
            <a:off x="3712360" y="2274389"/>
            <a:ext cx="30542" cy="28584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/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77382744-7C4F-4F55-94FB-45388B8A4E76}"/>
              </a:ext>
            </a:extLst>
          </p:cNvPr>
          <p:cNvSpPr/>
          <p:nvPr/>
        </p:nvSpPr>
        <p:spPr>
          <a:xfrm>
            <a:off x="3727631" y="2621973"/>
            <a:ext cx="30542" cy="28584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/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B1C5E23F-2901-4288-A6B9-AD22F370D7D8}"/>
              </a:ext>
            </a:extLst>
          </p:cNvPr>
          <p:cNvSpPr/>
          <p:nvPr/>
        </p:nvSpPr>
        <p:spPr>
          <a:xfrm>
            <a:off x="7163259" y="3785892"/>
            <a:ext cx="30542" cy="28584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/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D6E8892F-52C0-45E1-BC4E-5164EB9A9410}"/>
              </a:ext>
            </a:extLst>
          </p:cNvPr>
          <p:cNvSpPr/>
          <p:nvPr/>
        </p:nvSpPr>
        <p:spPr>
          <a:xfrm>
            <a:off x="7067718" y="4533806"/>
            <a:ext cx="30542" cy="28584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/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5E362E2F-B70C-4638-B32B-ABC5F608118C}"/>
              </a:ext>
            </a:extLst>
          </p:cNvPr>
          <p:cNvSpPr/>
          <p:nvPr/>
        </p:nvSpPr>
        <p:spPr>
          <a:xfrm>
            <a:off x="4979036" y="3323421"/>
            <a:ext cx="30542" cy="28584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/>
          </a:p>
        </p:txBody>
      </p:sp>
      <p:pic>
        <p:nvPicPr>
          <p:cNvPr id="24" name="Picture 2">
            <a:extLst>
              <a:ext uri="{FF2B5EF4-FFF2-40B4-BE49-F238E27FC236}">
                <a16:creationId xmlns:a16="http://schemas.microsoft.com/office/drawing/2014/main" id="{CB211D32-B1F2-4808-88B3-CDEC84DD2C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5742" y="2536398"/>
            <a:ext cx="307146" cy="193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Textfeld 24">
            <a:extLst>
              <a:ext uri="{FF2B5EF4-FFF2-40B4-BE49-F238E27FC236}">
                <a16:creationId xmlns:a16="http://schemas.microsoft.com/office/drawing/2014/main" id="{EEA240C5-6DF3-4FFD-BD97-B01D00497EAE}"/>
              </a:ext>
            </a:extLst>
          </p:cNvPr>
          <p:cNvSpPr txBox="1"/>
          <p:nvPr/>
        </p:nvSpPr>
        <p:spPr>
          <a:xfrm>
            <a:off x="3060253" y="2243932"/>
            <a:ext cx="321371" cy="1719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b="1" dirty="0"/>
              <a:t>VTP</a:t>
            </a:r>
            <a:endParaRPr lang="en-GB" sz="1200" b="1" dirty="0"/>
          </a:p>
        </p:txBody>
      </p:sp>
      <p:sp>
        <p:nvSpPr>
          <p:cNvPr id="26" name="Ellipse 25">
            <a:extLst>
              <a:ext uri="{FF2B5EF4-FFF2-40B4-BE49-F238E27FC236}">
                <a16:creationId xmlns:a16="http://schemas.microsoft.com/office/drawing/2014/main" id="{73E4DEAA-F77A-4CF7-BC8E-FBFF6960BBDB}"/>
              </a:ext>
            </a:extLst>
          </p:cNvPr>
          <p:cNvSpPr/>
          <p:nvPr/>
        </p:nvSpPr>
        <p:spPr>
          <a:xfrm>
            <a:off x="3209692" y="2423428"/>
            <a:ext cx="30542" cy="2838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/>
          </a:p>
        </p:txBody>
      </p:sp>
      <p:pic>
        <p:nvPicPr>
          <p:cNvPr id="27" name="Picture 2">
            <a:extLst>
              <a:ext uri="{FF2B5EF4-FFF2-40B4-BE49-F238E27FC236}">
                <a16:creationId xmlns:a16="http://schemas.microsoft.com/office/drawing/2014/main" id="{679489A9-89D0-4C56-8A4D-8CC4D9B778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6331" y="2687705"/>
            <a:ext cx="367976" cy="1728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4" descr="Bildergebnis für romania flag">
            <a:extLst>
              <a:ext uri="{FF2B5EF4-FFF2-40B4-BE49-F238E27FC236}">
                <a16:creationId xmlns:a16="http://schemas.microsoft.com/office/drawing/2014/main" id="{6754FC64-BCAC-4204-AC0A-FC4500A43A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8565" y="3409192"/>
            <a:ext cx="334392" cy="208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" descr="Bildergebnis für slovakian flag">
            <a:extLst>
              <a:ext uri="{FF2B5EF4-FFF2-40B4-BE49-F238E27FC236}">
                <a16:creationId xmlns:a16="http://schemas.microsoft.com/office/drawing/2014/main" id="{49CBE45F-F730-4D74-A989-A18BCA7892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8169" y="2013397"/>
            <a:ext cx="370061" cy="2305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0" name="Textfeld 29">
            <a:extLst>
              <a:ext uri="{FF2B5EF4-FFF2-40B4-BE49-F238E27FC236}">
                <a16:creationId xmlns:a16="http://schemas.microsoft.com/office/drawing/2014/main" id="{BD52EC5A-900A-4D48-B860-9176AE4AE9F4}"/>
              </a:ext>
            </a:extLst>
          </p:cNvPr>
          <p:cNvSpPr txBox="1"/>
          <p:nvPr/>
        </p:nvSpPr>
        <p:spPr>
          <a:xfrm>
            <a:off x="3308222" y="3120136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i="1" dirty="0"/>
              <a:t>PCI 6.24</a:t>
            </a:r>
            <a:endParaRPr lang="en-GB" b="1" i="1" dirty="0"/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F5D49D9E-E787-4D7C-B472-3D1C9E2BB4F1}"/>
              </a:ext>
            </a:extLst>
          </p:cNvPr>
          <p:cNvSpPr/>
          <p:nvPr/>
        </p:nvSpPr>
        <p:spPr>
          <a:xfrm rot="1983292">
            <a:off x="3155403" y="3270138"/>
            <a:ext cx="3685980" cy="278333"/>
          </a:xfrm>
          <a:prstGeom prst="ellipse">
            <a:avLst/>
          </a:prstGeom>
          <a:noFill/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8601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  <p:bldP spid="31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D72EFE-39A8-4B38-8958-18B01BBC24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oal: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reach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Austrian VTP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8D7C312-B1AA-438D-BF6B-B475FFEBF90A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3F1E6D7-79AF-4173-B9CF-27FE352A550C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7657052-053D-4F8A-9024-BB231EE7673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3867FCE2-59F1-44AA-9AFA-EA03DBF8375D}"/>
              </a:ext>
            </a:extLst>
          </p:cNvPr>
          <p:cNvSpPr txBox="1">
            <a:spLocks/>
          </p:cNvSpPr>
          <p:nvPr/>
        </p:nvSpPr>
        <p:spPr>
          <a:xfrm>
            <a:off x="576488" y="1104708"/>
            <a:ext cx="8229600" cy="314897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1pPr>
            <a:lvl2pPr marL="268288" indent="-268288" algn="l" defTabSz="914400" rtl="0" eaLnBrk="1" latinLnBrk="0" hangingPunct="1">
              <a:spcBef>
                <a:spcPts val="500"/>
              </a:spcBef>
              <a:buClr>
                <a:srgbClr val="0066A9"/>
              </a:buClr>
              <a:buFont typeface="Arial" panose="020B0604020202020204" pitchFamily="34" charset="0"/>
              <a:buChar char="&gt;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2pPr>
            <a:lvl3pPr marL="536575" indent="-268288" algn="l" defTabSz="914400" rtl="0" eaLnBrk="1" latinLnBrk="0" hangingPunct="1">
              <a:spcBef>
                <a:spcPts val="400"/>
              </a:spcBef>
              <a:buClr>
                <a:srgbClr val="0066A9"/>
              </a:buClr>
              <a:buFont typeface="Wingdings" panose="05000000000000000000" pitchFamily="2" charset="2"/>
              <a:buChar char="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3pPr>
            <a:lvl4pPr marL="720725" indent="-273050" algn="l" defTabSz="914400" rtl="0" eaLnBrk="1" latinLnBrk="0" hangingPunct="1">
              <a:spcBef>
                <a:spcPts val="4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9" name="Foliennummernplatzhalter 3">
            <a:extLst>
              <a:ext uri="{FF2B5EF4-FFF2-40B4-BE49-F238E27FC236}">
                <a16:creationId xmlns:a16="http://schemas.microsoft.com/office/drawing/2014/main" id="{49C4FD46-4C76-4559-91AD-AD68811696EE}"/>
              </a:ext>
            </a:extLst>
          </p:cNvPr>
          <p:cNvSpPr txBox="1">
            <a:spLocks/>
          </p:cNvSpPr>
          <p:nvPr/>
        </p:nvSpPr>
        <p:spPr>
          <a:xfrm>
            <a:off x="6672488" y="4372747"/>
            <a:ext cx="2133600" cy="4762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600" i="1" kern="1200" baseline="0">
                <a:solidFill>
                  <a:schemeClr val="bg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1pPr>
            <a:lvl2pPr marL="268288" indent="-268288" algn="l" defTabSz="914400" rtl="0" eaLnBrk="1" latinLnBrk="0" hangingPunct="1">
              <a:spcBef>
                <a:spcPts val="500"/>
              </a:spcBef>
              <a:buClr>
                <a:srgbClr val="0066A9"/>
              </a:buClr>
              <a:buFont typeface="Arial" panose="020B0604020202020204" pitchFamily="34" charset="0"/>
              <a:buChar char="&gt;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2pPr>
            <a:lvl3pPr marL="536575" indent="-268288" algn="l" defTabSz="914400" rtl="0" eaLnBrk="1" latinLnBrk="0" hangingPunct="1">
              <a:spcBef>
                <a:spcPts val="400"/>
              </a:spcBef>
              <a:buClr>
                <a:srgbClr val="0066A9"/>
              </a:buClr>
              <a:buFont typeface="Wingdings" panose="05000000000000000000" pitchFamily="2" charset="2"/>
              <a:buChar char="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3pPr>
            <a:lvl4pPr marL="720725" indent="-273050" algn="l" defTabSz="914400" rtl="0" eaLnBrk="1" latinLnBrk="0" hangingPunct="1">
              <a:spcBef>
                <a:spcPts val="4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38FDFA3-F5B0-4BC3-9E09-D644D952F017}" type="slidenum">
              <a:rPr lang="de-DE" altLang="de-DE" smtClean="0"/>
              <a:pPr/>
              <a:t>11</a:t>
            </a:fld>
            <a:endParaRPr lang="de-DE" altLang="de-DE"/>
          </a:p>
        </p:txBody>
      </p:sp>
      <p:sp>
        <p:nvSpPr>
          <p:cNvPr id="32" name="Foliennummernplatzhalter 3">
            <a:extLst>
              <a:ext uri="{FF2B5EF4-FFF2-40B4-BE49-F238E27FC236}">
                <a16:creationId xmlns:a16="http://schemas.microsoft.com/office/drawing/2014/main" id="{6EEB7872-96F3-436A-A3E6-BAF27446E940}"/>
              </a:ext>
            </a:extLst>
          </p:cNvPr>
          <p:cNvSpPr txBox="1">
            <a:spLocks/>
          </p:cNvSpPr>
          <p:nvPr/>
        </p:nvSpPr>
        <p:spPr>
          <a:xfrm>
            <a:off x="6559398" y="5738531"/>
            <a:ext cx="2133600" cy="4762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600" i="1" kern="1200" baseline="0">
                <a:solidFill>
                  <a:schemeClr val="bg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1pPr>
            <a:lvl2pPr marL="268288" indent="-268288" algn="l" defTabSz="914400" rtl="0" eaLnBrk="1" latinLnBrk="0" hangingPunct="1">
              <a:spcBef>
                <a:spcPts val="500"/>
              </a:spcBef>
              <a:buClr>
                <a:srgbClr val="0066A9"/>
              </a:buClr>
              <a:buFont typeface="Arial" panose="020B0604020202020204" pitchFamily="34" charset="0"/>
              <a:buChar char="&gt;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2pPr>
            <a:lvl3pPr marL="536575" indent="-268288" algn="l" defTabSz="914400" rtl="0" eaLnBrk="1" latinLnBrk="0" hangingPunct="1">
              <a:spcBef>
                <a:spcPts val="400"/>
              </a:spcBef>
              <a:buClr>
                <a:srgbClr val="0066A9"/>
              </a:buClr>
              <a:buFont typeface="Wingdings" panose="05000000000000000000" pitchFamily="2" charset="2"/>
              <a:buChar char="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3pPr>
            <a:lvl4pPr marL="720725" indent="-273050" algn="l" defTabSz="914400" rtl="0" eaLnBrk="1" latinLnBrk="0" hangingPunct="1">
              <a:spcBef>
                <a:spcPts val="4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38FDFA3-F5B0-4BC3-9E09-D644D952F017}" type="slidenum">
              <a:rPr lang="de-DE" altLang="de-DE" smtClean="0"/>
              <a:pPr/>
              <a:t>11</a:t>
            </a:fld>
            <a:endParaRPr lang="de-DE" altLang="de-DE"/>
          </a:p>
        </p:txBody>
      </p: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9DDF5FAD-C097-4864-BE56-F7726EE70205}"/>
              </a:ext>
            </a:extLst>
          </p:cNvPr>
          <p:cNvGrpSpPr/>
          <p:nvPr/>
        </p:nvGrpSpPr>
        <p:grpSpPr>
          <a:xfrm>
            <a:off x="0" y="1375821"/>
            <a:ext cx="9289032" cy="4824536"/>
            <a:chOff x="755519" y="2428889"/>
            <a:chExt cx="7992945" cy="3880431"/>
          </a:xfrm>
        </p:grpSpPr>
        <p:sp>
          <p:nvSpPr>
            <p:cNvPr id="34" name="Freeform 26">
              <a:extLst>
                <a:ext uri="{FF2B5EF4-FFF2-40B4-BE49-F238E27FC236}">
                  <a16:creationId xmlns:a16="http://schemas.microsoft.com/office/drawing/2014/main" id="{DD11296E-A6EB-43F1-8A02-8FA747DF1E81}"/>
                </a:ext>
              </a:extLst>
            </p:cNvPr>
            <p:cNvSpPr>
              <a:spLocks/>
            </p:cNvSpPr>
            <p:nvPr/>
          </p:nvSpPr>
          <p:spPr bwMode="gray">
            <a:xfrm>
              <a:off x="755519" y="2888254"/>
              <a:ext cx="3096896" cy="1740752"/>
            </a:xfrm>
            <a:custGeom>
              <a:avLst/>
              <a:gdLst>
                <a:gd name="T0" fmla="*/ 31 w 302"/>
                <a:gd name="T1" fmla="*/ 209 h 148"/>
                <a:gd name="T2" fmla="*/ 48 w 302"/>
                <a:gd name="T3" fmla="*/ 207 h 148"/>
                <a:gd name="T4" fmla="*/ 70 w 302"/>
                <a:gd name="T5" fmla="*/ 215 h 148"/>
                <a:gd name="T6" fmla="*/ 86 w 302"/>
                <a:gd name="T7" fmla="*/ 229 h 148"/>
                <a:gd name="T8" fmla="*/ 100 w 302"/>
                <a:gd name="T9" fmla="*/ 244 h 148"/>
                <a:gd name="T10" fmla="*/ 138 w 302"/>
                <a:gd name="T11" fmla="*/ 224 h 148"/>
                <a:gd name="T12" fmla="*/ 155 w 302"/>
                <a:gd name="T13" fmla="*/ 207 h 148"/>
                <a:gd name="T14" fmla="*/ 198 w 302"/>
                <a:gd name="T15" fmla="*/ 209 h 148"/>
                <a:gd name="T16" fmla="*/ 217 w 302"/>
                <a:gd name="T17" fmla="*/ 229 h 148"/>
                <a:gd name="T18" fmla="*/ 275 w 302"/>
                <a:gd name="T19" fmla="*/ 220 h 148"/>
                <a:gd name="T20" fmla="*/ 303 w 302"/>
                <a:gd name="T21" fmla="*/ 209 h 148"/>
                <a:gd name="T22" fmla="*/ 392 w 302"/>
                <a:gd name="T23" fmla="*/ 198 h 148"/>
                <a:gd name="T24" fmla="*/ 429 w 302"/>
                <a:gd name="T25" fmla="*/ 184 h 148"/>
                <a:gd name="T26" fmla="*/ 477 w 302"/>
                <a:gd name="T27" fmla="*/ 189 h 148"/>
                <a:gd name="T28" fmla="*/ 486 w 302"/>
                <a:gd name="T29" fmla="*/ 207 h 148"/>
                <a:gd name="T30" fmla="*/ 523 w 302"/>
                <a:gd name="T31" fmla="*/ 215 h 148"/>
                <a:gd name="T32" fmla="*/ 523 w 302"/>
                <a:gd name="T33" fmla="*/ 184 h 148"/>
                <a:gd name="T34" fmla="*/ 516 w 302"/>
                <a:gd name="T35" fmla="*/ 164 h 148"/>
                <a:gd name="T36" fmla="*/ 499 w 302"/>
                <a:gd name="T37" fmla="*/ 106 h 148"/>
                <a:gd name="T38" fmla="*/ 577 w 302"/>
                <a:gd name="T39" fmla="*/ 76 h 148"/>
                <a:gd name="T40" fmla="*/ 593 w 302"/>
                <a:gd name="T41" fmla="*/ 50 h 148"/>
                <a:gd name="T42" fmla="*/ 661 w 302"/>
                <a:gd name="T43" fmla="*/ 47 h 148"/>
                <a:gd name="T44" fmla="*/ 700 w 302"/>
                <a:gd name="T45" fmla="*/ 56 h 148"/>
                <a:gd name="T46" fmla="*/ 770 w 302"/>
                <a:gd name="T47" fmla="*/ 50 h 148"/>
                <a:gd name="T48" fmla="*/ 905 w 302"/>
                <a:gd name="T49" fmla="*/ 21 h 148"/>
                <a:gd name="T50" fmla="*/ 1070 w 302"/>
                <a:gd name="T51" fmla="*/ 26 h 148"/>
                <a:gd name="T52" fmla="*/ 1106 w 302"/>
                <a:gd name="T53" fmla="*/ 47 h 148"/>
                <a:gd name="T54" fmla="*/ 1100 w 302"/>
                <a:gd name="T55" fmla="*/ 91 h 148"/>
                <a:gd name="T56" fmla="*/ 1160 w 302"/>
                <a:gd name="T57" fmla="*/ 143 h 148"/>
                <a:gd name="T58" fmla="*/ 1121 w 302"/>
                <a:gd name="T59" fmla="*/ 189 h 148"/>
                <a:gd name="T60" fmla="*/ 1060 w 302"/>
                <a:gd name="T61" fmla="*/ 184 h 148"/>
                <a:gd name="T62" fmla="*/ 1023 w 302"/>
                <a:gd name="T63" fmla="*/ 195 h 148"/>
                <a:gd name="T64" fmla="*/ 1060 w 302"/>
                <a:gd name="T65" fmla="*/ 209 h 148"/>
                <a:gd name="T66" fmla="*/ 1028 w 302"/>
                <a:gd name="T67" fmla="*/ 229 h 148"/>
                <a:gd name="T68" fmla="*/ 1038 w 302"/>
                <a:gd name="T69" fmla="*/ 267 h 148"/>
                <a:gd name="T70" fmla="*/ 1008 w 302"/>
                <a:gd name="T71" fmla="*/ 306 h 148"/>
                <a:gd name="T72" fmla="*/ 964 w 302"/>
                <a:gd name="T73" fmla="*/ 334 h 148"/>
                <a:gd name="T74" fmla="*/ 884 w 302"/>
                <a:gd name="T75" fmla="*/ 347 h 148"/>
                <a:gd name="T76" fmla="*/ 792 w 302"/>
                <a:gd name="T77" fmla="*/ 347 h 148"/>
                <a:gd name="T78" fmla="*/ 732 w 302"/>
                <a:gd name="T79" fmla="*/ 366 h 148"/>
                <a:gd name="T80" fmla="*/ 675 w 302"/>
                <a:gd name="T81" fmla="*/ 362 h 148"/>
                <a:gd name="T82" fmla="*/ 577 w 302"/>
                <a:gd name="T83" fmla="*/ 351 h 148"/>
                <a:gd name="T84" fmla="*/ 429 w 302"/>
                <a:gd name="T85" fmla="*/ 332 h 148"/>
                <a:gd name="T86" fmla="*/ 382 w 302"/>
                <a:gd name="T87" fmla="*/ 297 h 148"/>
                <a:gd name="T88" fmla="*/ 332 w 302"/>
                <a:gd name="T89" fmla="*/ 290 h 148"/>
                <a:gd name="T90" fmla="*/ 275 w 302"/>
                <a:gd name="T91" fmla="*/ 290 h 148"/>
                <a:gd name="T92" fmla="*/ 244 w 302"/>
                <a:gd name="T93" fmla="*/ 290 h 148"/>
                <a:gd name="T94" fmla="*/ 185 w 302"/>
                <a:gd name="T95" fmla="*/ 316 h 148"/>
                <a:gd name="T96" fmla="*/ 138 w 302"/>
                <a:gd name="T97" fmla="*/ 290 h 148"/>
                <a:gd name="T98" fmla="*/ 94 w 302"/>
                <a:gd name="T99" fmla="*/ 306 h 148"/>
                <a:gd name="T100" fmla="*/ 56 w 302"/>
                <a:gd name="T101" fmla="*/ 283 h 148"/>
                <a:gd name="T102" fmla="*/ 16 w 302"/>
                <a:gd name="T103" fmla="*/ 267 h 148"/>
                <a:gd name="T104" fmla="*/ 16 w 302"/>
                <a:gd name="T105" fmla="*/ 229 h 148"/>
                <a:gd name="T106" fmla="*/ 10 w 302"/>
                <a:gd name="T107" fmla="*/ 207 h 1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02"/>
                <a:gd name="T163" fmla="*/ 0 h 148"/>
                <a:gd name="T164" fmla="*/ 302 w 302"/>
                <a:gd name="T165" fmla="*/ 148 h 14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02" h="148">
                  <a:moveTo>
                    <a:pt x="2" y="80"/>
                  </a:moveTo>
                  <a:lnTo>
                    <a:pt x="8" y="82"/>
                  </a:lnTo>
                  <a:lnTo>
                    <a:pt x="12" y="78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8" y="84"/>
                  </a:lnTo>
                  <a:lnTo>
                    <a:pt x="22" y="86"/>
                  </a:lnTo>
                  <a:lnTo>
                    <a:pt x="22" y="90"/>
                  </a:lnTo>
                  <a:lnTo>
                    <a:pt x="26" y="90"/>
                  </a:lnTo>
                  <a:lnTo>
                    <a:pt x="26" y="96"/>
                  </a:lnTo>
                  <a:lnTo>
                    <a:pt x="28" y="96"/>
                  </a:lnTo>
                  <a:lnTo>
                    <a:pt x="36" y="88"/>
                  </a:lnTo>
                  <a:lnTo>
                    <a:pt x="36" y="80"/>
                  </a:lnTo>
                  <a:lnTo>
                    <a:pt x="40" y="80"/>
                  </a:lnTo>
                  <a:lnTo>
                    <a:pt x="44" y="80"/>
                  </a:lnTo>
                  <a:lnTo>
                    <a:pt x="52" y="82"/>
                  </a:lnTo>
                  <a:lnTo>
                    <a:pt x="54" y="86"/>
                  </a:lnTo>
                  <a:lnTo>
                    <a:pt x="56" y="90"/>
                  </a:lnTo>
                  <a:lnTo>
                    <a:pt x="66" y="90"/>
                  </a:lnTo>
                  <a:lnTo>
                    <a:pt x="72" y="86"/>
                  </a:lnTo>
                  <a:lnTo>
                    <a:pt x="74" y="82"/>
                  </a:lnTo>
                  <a:lnTo>
                    <a:pt x="78" y="82"/>
                  </a:lnTo>
                  <a:lnTo>
                    <a:pt x="80" y="78"/>
                  </a:lnTo>
                  <a:lnTo>
                    <a:pt x="102" y="78"/>
                  </a:lnTo>
                  <a:lnTo>
                    <a:pt x="104" y="72"/>
                  </a:lnTo>
                  <a:lnTo>
                    <a:pt x="112" y="72"/>
                  </a:lnTo>
                  <a:lnTo>
                    <a:pt x="114" y="76"/>
                  </a:lnTo>
                  <a:lnTo>
                    <a:pt x="124" y="74"/>
                  </a:lnTo>
                  <a:lnTo>
                    <a:pt x="128" y="76"/>
                  </a:lnTo>
                  <a:lnTo>
                    <a:pt x="126" y="80"/>
                  </a:lnTo>
                  <a:lnTo>
                    <a:pt x="134" y="86"/>
                  </a:lnTo>
                  <a:lnTo>
                    <a:pt x="136" y="84"/>
                  </a:lnTo>
                  <a:lnTo>
                    <a:pt x="136" y="76"/>
                  </a:lnTo>
                  <a:lnTo>
                    <a:pt x="136" y="72"/>
                  </a:lnTo>
                  <a:lnTo>
                    <a:pt x="130" y="70"/>
                  </a:lnTo>
                  <a:lnTo>
                    <a:pt x="134" y="64"/>
                  </a:lnTo>
                  <a:lnTo>
                    <a:pt x="124" y="48"/>
                  </a:lnTo>
                  <a:lnTo>
                    <a:pt x="130" y="42"/>
                  </a:lnTo>
                  <a:lnTo>
                    <a:pt x="148" y="34"/>
                  </a:lnTo>
                  <a:lnTo>
                    <a:pt x="150" y="30"/>
                  </a:lnTo>
                  <a:lnTo>
                    <a:pt x="150" y="22"/>
                  </a:lnTo>
                  <a:lnTo>
                    <a:pt x="154" y="20"/>
                  </a:lnTo>
                  <a:lnTo>
                    <a:pt x="160" y="26"/>
                  </a:lnTo>
                  <a:lnTo>
                    <a:pt x="172" y="18"/>
                  </a:lnTo>
                  <a:lnTo>
                    <a:pt x="174" y="18"/>
                  </a:lnTo>
                  <a:lnTo>
                    <a:pt x="182" y="22"/>
                  </a:lnTo>
                  <a:lnTo>
                    <a:pt x="190" y="24"/>
                  </a:lnTo>
                  <a:lnTo>
                    <a:pt x="200" y="20"/>
                  </a:lnTo>
                  <a:lnTo>
                    <a:pt x="212" y="0"/>
                  </a:lnTo>
                  <a:lnTo>
                    <a:pt x="236" y="8"/>
                  </a:lnTo>
                  <a:lnTo>
                    <a:pt x="254" y="14"/>
                  </a:lnTo>
                  <a:lnTo>
                    <a:pt x="278" y="10"/>
                  </a:lnTo>
                  <a:lnTo>
                    <a:pt x="286" y="16"/>
                  </a:lnTo>
                  <a:lnTo>
                    <a:pt x="288" y="18"/>
                  </a:lnTo>
                  <a:lnTo>
                    <a:pt x="288" y="20"/>
                  </a:lnTo>
                  <a:lnTo>
                    <a:pt x="286" y="36"/>
                  </a:lnTo>
                  <a:lnTo>
                    <a:pt x="290" y="42"/>
                  </a:lnTo>
                  <a:lnTo>
                    <a:pt x="302" y="56"/>
                  </a:lnTo>
                  <a:lnTo>
                    <a:pt x="292" y="64"/>
                  </a:lnTo>
                  <a:lnTo>
                    <a:pt x="292" y="74"/>
                  </a:lnTo>
                  <a:lnTo>
                    <a:pt x="280" y="74"/>
                  </a:lnTo>
                  <a:lnTo>
                    <a:pt x="276" y="72"/>
                  </a:lnTo>
                  <a:lnTo>
                    <a:pt x="270" y="72"/>
                  </a:lnTo>
                  <a:lnTo>
                    <a:pt x="266" y="76"/>
                  </a:lnTo>
                  <a:lnTo>
                    <a:pt x="274" y="78"/>
                  </a:lnTo>
                  <a:lnTo>
                    <a:pt x="276" y="82"/>
                  </a:lnTo>
                  <a:lnTo>
                    <a:pt x="274" y="88"/>
                  </a:lnTo>
                  <a:lnTo>
                    <a:pt x="268" y="90"/>
                  </a:lnTo>
                  <a:lnTo>
                    <a:pt x="266" y="100"/>
                  </a:lnTo>
                  <a:lnTo>
                    <a:pt x="270" y="104"/>
                  </a:lnTo>
                  <a:lnTo>
                    <a:pt x="268" y="112"/>
                  </a:lnTo>
                  <a:lnTo>
                    <a:pt x="262" y="120"/>
                  </a:lnTo>
                  <a:lnTo>
                    <a:pt x="250" y="124"/>
                  </a:lnTo>
                  <a:lnTo>
                    <a:pt x="250" y="132"/>
                  </a:lnTo>
                  <a:lnTo>
                    <a:pt x="236" y="130"/>
                  </a:lnTo>
                  <a:lnTo>
                    <a:pt x="230" y="136"/>
                  </a:lnTo>
                  <a:lnTo>
                    <a:pt x="216" y="132"/>
                  </a:lnTo>
                  <a:lnTo>
                    <a:pt x="206" y="136"/>
                  </a:lnTo>
                  <a:lnTo>
                    <a:pt x="194" y="148"/>
                  </a:lnTo>
                  <a:lnTo>
                    <a:pt x="190" y="144"/>
                  </a:lnTo>
                  <a:lnTo>
                    <a:pt x="180" y="144"/>
                  </a:lnTo>
                  <a:lnTo>
                    <a:pt x="176" y="142"/>
                  </a:lnTo>
                  <a:lnTo>
                    <a:pt x="158" y="140"/>
                  </a:lnTo>
                  <a:lnTo>
                    <a:pt x="150" y="138"/>
                  </a:lnTo>
                  <a:lnTo>
                    <a:pt x="134" y="136"/>
                  </a:lnTo>
                  <a:lnTo>
                    <a:pt x="112" y="130"/>
                  </a:lnTo>
                  <a:lnTo>
                    <a:pt x="106" y="120"/>
                  </a:lnTo>
                  <a:lnTo>
                    <a:pt x="100" y="116"/>
                  </a:lnTo>
                  <a:lnTo>
                    <a:pt x="100" y="108"/>
                  </a:lnTo>
                  <a:lnTo>
                    <a:pt x="86" y="114"/>
                  </a:lnTo>
                  <a:lnTo>
                    <a:pt x="80" y="110"/>
                  </a:lnTo>
                  <a:lnTo>
                    <a:pt x="72" y="114"/>
                  </a:lnTo>
                  <a:lnTo>
                    <a:pt x="70" y="112"/>
                  </a:lnTo>
                  <a:lnTo>
                    <a:pt x="64" y="114"/>
                  </a:lnTo>
                  <a:lnTo>
                    <a:pt x="58" y="124"/>
                  </a:lnTo>
                  <a:lnTo>
                    <a:pt x="48" y="124"/>
                  </a:lnTo>
                  <a:lnTo>
                    <a:pt x="36" y="120"/>
                  </a:lnTo>
                  <a:lnTo>
                    <a:pt x="36" y="114"/>
                  </a:lnTo>
                  <a:lnTo>
                    <a:pt x="34" y="112"/>
                  </a:lnTo>
                  <a:lnTo>
                    <a:pt x="24" y="120"/>
                  </a:lnTo>
                  <a:lnTo>
                    <a:pt x="14" y="114"/>
                  </a:lnTo>
                  <a:lnTo>
                    <a:pt x="14" y="110"/>
                  </a:lnTo>
                  <a:lnTo>
                    <a:pt x="2" y="108"/>
                  </a:lnTo>
                  <a:lnTo>
                    <a:pt x="4" y="104"/>
                  </a:lnTo>
                  <a:lnTo>
                    <a:pt x="0" y="96"/>
                  </a:lnTo>
                  <a:lnTo>
                    <a:pt x="4" y="90"/>
                  </a:lnTo>
                  <a:lnTo>
                    <a:pt x="2" y="80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35" name="Freeform 27">
              <a:extLst>
                <a:ext uri="{FF2B5EF4-FFF2-40B4-BE49-F238E27FC236}">
                  <a16:creationId xmlns:a16="http://schemas.microsoft.com/office/drawing/2014/main" id="{AC2BC1E4-4FCF-401F-A431-D5E2FFB6447A}"/>
                </a:ext>
              </a:extLst>
            </p:cNvPr>
            <p:cNvSpPr>
              <a:spLocks/>
            </p:cNvSpPr>
            <p:nvPr/>
          </p:nvSpPr>
          <p:spPr bwMode="gray">
            <a:xfrm>
              <a:off x="3695112" y="2428889"/>
              <a:ext cx="2231730" cy="1220941"/>
            </a:xfrm>
            <a:custGeom>
              <a:avLst/>
              <a:gdLst>
                <a:gd name="T0" fmla="*/ 2 w 218"/>
                <a:gd name="T1" fmla="*/ 144 h 102"/>
                <a:gd name="T2" fmla="*/ 14 w 218"/>
                <a:gd name="T3" fmla="*/ 127 h 102"/>
                <a:gd name="T4" fmla="*/ 30 w 218"/>
                <a:gd name="T5" fmla="*/ 118 h 102"/>
                <a:gd name="T6" fmla="*/ 37 w 218"/>
                <a:gd name="T7" fmla="*/ 111 h 102"/>
                <a:gd name="T8" fmla="*/ 50 w 218"/>
                <a:gd name="T9" fmla="*/ 111 h 102"/>
                <a:gd name="T10" fmla="*/ 76 w 218"/>
                <a:gd name="T11" fmla="*/ 118 h 102"/>
                <a:gd name="T12" fmla="*/ 81 w 218"/>
                <a:gd name="T13" fmla="*/ 111 h 102"/>
                <a:gd name="T14" fmla="*/ 89 w 218"/>
                <a:gd name="T15" fmla="*/ 118 h 102"/>
                <a:gd name="T16" fmla="*/ 107 w 218"/>
                <a:gd name="T17" fmla="*/ 111 h 102"/>
                <a:gd name="T18" fmla="*/ 120 w 218"/>
                <a:gd name="T19" fmla="*/ 105 h 102"/>
                <a:gd name="T20" fmla="*/ 126 w 218"/>
                <a:gd name="T21" fmla="*/ 101 h 102"/>
                <a:gd name="T22" fmla="*/ 143 w 218"/>
                <a:gd name="T23" fmla="*/ 101 h 102"/>
                <a:gd name="T24" fmla="*/ 150 w 218"/>
                <a:gd name="T25" fmla="*/ 89 h 102"/>
                <a:gd name="T26" fmla="*/ 157 w 218"/>
                <a:gd name="T27" fmla="*/ 86 h 102"/>
                <a:gd name="T28" fmla="*/ 172 w 218"/>
                <a:gd name="T29" fmla="*/ 78 h 102"/>
                <a:gd name="T30" fmla="*/ 182 w 218"/>
                <a:gd name="T31" fmla="*/ 64 h 102"/>
                <a:gd name="T32" fmla="*/ 187 w 218"/>
                <a:gd name="T33" fmla="*/ 47 h 102"/>
                <a:gd name="T34" fmla="*/ 196 w 218"/>
                <a:gd name="T35" fmla="*/ 42 h 102"/>
                <a:gd name="T36" fmla="*/ 212 w 218"/>
                <a:gd name="T37" fmla="*/ 36 h 102"/>
                <a:gd name="T38" fmla="*/ 227 w 218"/>
                <a:gd name="T39" fmla="*/ 26 h 102"/>
                <a:gd name="T40" fmla="*/ 243 w 218"/>
                <a:gd name="T41" fmla="*/ 15 h 102"/>
                <a:gd name="T42" fmla="*/ 246 w 218"/>
                <a:gd name="T43" fmla="*/ 11 h 102"/>
                <a:gd name="T44" fmla="*/ 265 w 218"/>
                <a:gd name="T45" fmla="*/ 15 h 102"/>
                <a:gd name="T46" fmla="*/ 277 w 218"/>
                <a:gd name="T47" fmla="*/ 2 h 102"/>
                <a:gd name="T48" fmla="*/ 303 w 218"/>
                <a:gd name="T49" fmla="*/ 11 h 102"/>
                <a:gd name="T50" fmla="*/ 332 w 218"/>
                <a:gd name="T51" fmla="*/ 21 h 102"/>
                <a:gd name="T52" fmla="*/ 353 w 218"/>
                <a:gd name="T53" fmla="*/ 2 h 102"/>
                <a:gd name="T54" fmla="*/ 378 w 218"/>
                <a:gd name="T55" fmla="*/ 0 h 102"/>
                <a:gd name="T56" fmla="*/ 392 w 218"/>
                <a:gd name="T57" fmla="*/ 26 h 102"/>
                <a:gd name="T58" fmla="*/ 414 w 218"/>
                <a:gd name="T59" fmla="*/ 36 h 102"/>
                <a:gd name="T60" fmla="*/ 414 w 218"/>
                <a:gd name="T61" fmla="*/ 58 h 102"/>
                <a:gd name="T62" fmla="*/ 453 w 218"/>
                <a:gd name="T63" fmla="*/ 58 h 102"/>
                <a:gd name="T64" fmla="*/ 469 w 218"/>
                <a:gd name="T65" fmla="*/ 36 h 102"/>
                <a:gd name="T66" fmla="*/ 520 w 218"/>
                <a:gd name="T67" fmla="*/ 26 h 102"/>
                <a:gd name="T68" fmla="*/ 580 w 218"/>
                <a:gd name="T69" fmla="*/ 42 h 102"/>
                <a:gd name="T70" fmla="*/ 610 w 218"/>
                <a:gd name="T71" fmla="*/ 21 h 102"/>
                <a:gd name="T72" fmla="*/ 681 w 218"/>
                <a:gd name="T73" fmla="*/ 15 h 102"/>
                <a:gd name="T74" fmla="*/ 731 w 218"/>
                <a:gd name="T75" fmla="*/ 42 h 102"/>
                <a:gd name="T76" fmla="*/ 771 w 218"/>
                <a:gd name="T77" fmla="*/ 64 h 102"/>
                <a:gd name="T78" fmla="*/ 755 w 218"/>
                <a:gd name="T79" fmla="*/ 184 h 102"/>
                <a:gd name="T80" fmla="*/ 685 w 218"/>
                <a:gd name="T81" fmla="*/ 181 h 102"/>
                <a:gd name="T82" fmla="*/ 580 w 218"/>
                <a:gd name="T83" fmla="*/ 160 h 102"/>
                <a:gd name="T84" fmla="*/ 469 w 218"/>
                <a:gd name="T85" fmla="*/ 216 h 102"/>
                <a:gd name="T86" fmla="*/ 401 w 218"/>
                <a:gd name="T87" fmla="*/ 216 h 102"/>
                <a:gd name="T88" fmla="*/ 316 w 218"/>
                <a:gd name="T89" fmla="*/ 228 h 102"/>
                <a:gd name="T90" fmla="*/ 277 w 218"/>
                <a:gd name="T91" fmla="*/ 269 h 102"/>
                <a:gd name="T92" fmla="*/ 143 w 218"/>
                <a:gd name="T93" fmla="*/ 267 h 102"/>
                <a:gd name="T94" fmla="*/ 76 w 218"/>
                <a:gd name="T95" fmla="*/ 240 h 102"/>
                <a:gd name="T96" fmla="*/ 14 w 218"/>
                <a:gd name="T97" fmla="*/ 213 h 102"/>
                <a:gd name="T98" fmla="*/ 2 w 218"/>
                <a:gd name="T99" fmla="*/ 154 h 102"/>
                <a:gd name="T100" fmla="*/ 2 w 218"/>
                <a:gd name="T101" fmla="*/ 149 h 10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18"/>
                <a:gd name="T154" fmla="*/ 0 h 102"/>
                <a:gd name="T155" fmla="*/ 218 w 218"/>
                <a:gd name="T156" fmla="*/ 102 h 10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18" h="102">
                  <a:moveTo>
                    <a:pt x="2" y="56"/>
                  </a:moveTo>
                  <a:lnTo>
                    <a:pt x="2" y="54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6" y="46"/>
                  </a:lnTo>
                  <a:lnTo>
                    <a:pt x="8" y="44"/>
                  </a:lnTo>
                  <a:lnTo>
                    <a:pt x="8" y="42"/>
                  </a:lnTo>
                  <a:lnTo>
                    <a:pt x="10" y="42"/>
                  </a:lnTo>
                  <a:lnTo>
                    <a:pt x="12" y="40"/>
                  </a:lnTo>
                  <a:lnTo>
                    <a:pt x="14" y="42"/>
                  </a:lnTo>
                  <a:lnTo>
                    <a:pt x="16" y="44"/>
                  </a:lnTo>
                  <a:lnTo>
                    <a:pt x="20" y="44"/>
                  </a:lnTo>
                  <a:lnTo>
                    <a:pt x="20" y="42"/>
                  </a:lnTo>
                  <a:lnTo>
                    <a:pt x="22" y="42"/>
                  </a:lnTo>
                  <a:lnTo>
                    <a:pt x="22" y="44"/>
                  </a:lnTo>
                  <a:lnTo>
                    <a:pt x="24" y="44"/>
                  </a:lnTo>
                  <a:lnTo>
                    <a:pt x="26" y="44"/>
                  </a:lnTo>
                  <a:lnTo>
                    <a:pt x="28" y="42"/>
                  </a:lnTo>
                  <a:lnTo>
                    <a:pt x="30" y="42"/>
                  </a:lnTo>
                  <a:lnTo>
                    <a:pt x="32" y="40"/>
                  </a:lnTo>
                  <a:lnTo>
                    <a:pt x="34" y="40"/>
                  </a:lnTo>
                  <a:lnTo>
                    <a:pt x="34" y="38"/>
                  </a:lnTo>
                  <a:lnTo>
                    <a:pt x="36" y="38"/>
                  </a:lnTo>
                  <a:lnTo>
                    <a:pt x="38" y="38"/>
                  </a:lnTo>
                  <a:lnTo>
                    <a:pt x="38" y="36"/>
                  </a:lnTo>
                  <a:lnTo>
                    <a:pt x="40" y="34"/>
                  </a:lnTo>
                  <a:lnTo>
                    <a:pt x="40" y="32"/>
                  </a:lnTo>
                  <a:lnTo>
                    <a:pt x="42" y="32"/>
                  </a:lnTo>
                  <a:lnTo>
                    <a:pt x="44" y="32"/>
                  </a:lnTo>
                  <a:lnTo>
                    <a:pt x="46" y="30"/>
                  </a:lnTo>
                  <a:lnTo>
                    <a:pt x="48" y="26"/>
                  </a:lnTo>
                  <a:lnTo>
                    <a:pt x="48" y="24"/>
                  </a:lnTo>
                  <a:lnTo>
                    <a:pt x="48" y="20"/>
                  </a:lnTo>
                  <a:lnTo>
                    <a:pt x="50" y="18"/>
                  </a:lnTo>
                  <a:lnTo>
                    <a:pt x="50" y="16"/>
                  </a:lnTo>
                  <a:lnTo>
                    <a:pt x="52" y="16"/>
                  </a:lnTo>
                  <a:lnTo>
                    <a:pt x="54" y="16"/>
                  </a:lnTo>
                  <a:lnTo>
                    <a:pt x="56" y="14"/>
                  </a:lnTo>
                  <a:lnTo>
                    <a:pt x="58" y="12"/>
                  </a:lnTo>
                  <a:lnTo>
                    <a:pt x="60" y="10"/>
                  </a:lnTo>
                  <a:lnTo>
                    <a:pt x="62" y="8"/>
                  </a:lnTo>
                  <a:lnTo>
                    <a:pt x="64" y="6"/>
                  </a:lnTo>
                  <a:lnTo>
                    <a:pt x="64" y="4"/>
                  </a:lnTo>
                  <a:lnTo>
                    <a:pt x="66" y="4"/>
                  </a:lnTo>
                  <a:lnTo>
                    <a:pt x="70" y="4"/>
                  </a:lnTo>
                  <a:lnTo>
                    <a:pt x="70" y="6"/>
                  </a:lnTo>
                  <a:lnTo>
                    <a:pt x="72" y="4"/>
                  </a:lnTo>
                  <a:lnTo>
                    <a:pt x="74" y="2"/>
                  </a:lnTo>
                  <a:lnTo>
                    <a:pt x="80" y="4"/>
                  </a:lnTo>
                  <a:lnTo>
                    <a:pt x="80" y="10"/>
                  </a:lnTo>
                  <a:lnTo>
                    <a:pt x="88" y="8"/>
                  </a:lnTo>
                  <a:lnTo>
                    <a:pt x="90" y="2"/>
                  </a:lnTo>
                  <a:lnTo>
                    <a:pt x="94" y="2"/>
                  </a:lnTo>
                  <a:lnTo>
                    <a:pt x="94" y="0"/>
                  </a:lnTo>
                  <a:lnTo>
                    <a:pt x="100" y="0"/>
                  </a:lnTo>
                  <a:lnTo>
                    <a:pt x="104" y="6"/>
                  </a:lnTo>
                  <a:lnTo>
                    <a:pt x="104" y="10"/>
                  </a:lnTo>
                  <a:lnTo>
                    <a:pt x="110" y="10"/>
                  </a:lnTo>
                  <a:lnTo>
                    <a:pt x="110" y="14"/>
                  </a:lnTo>
                  <a:lnTo>
                    <a:pt x="110" y="16"/>
                  </a:lnTo>
                  <a:lnTo>
                    <a:pt x="110" y="22"/>
                  </a:lnTo>
                  <a:lnTo>
                    <a:pt x="118" y="20"/>
                  </a:lnTo>
                  <a:lnTo>
                    <a:pt x="120" y="22"/>
                  </a:lnTo>
                  <a:lnTo>
                    <a:pt x="122" y="20"/>
                  </a:lnTo>
                  <a:lnTo>
                    <a:pt x="124" y="14"/>
                  </a:lnTo>
                  <a:lnTo>
                    <a:pt x="134" y="8"/>
                  </a:lnTo>
                  <a:lnTo>
                    <a:pt x="138" y="10"/>
                  </a:lnTo>
                  <a:lnTo>
                    <a:pt x="146" y="10"/>
                  </a:lnTo>
                  <a:lnTo>
                    <a:pt x="154" y="16"/>
                  </a:lnTo>
                  <a:lnTo>
                    <a:pt x="160" y="12"/>
                  </a:lnTo>
                  <a:lnTo>
                    <a:pt x="162" y="8"/>
                  </a:lnTo>
                  <a:lnTo>
                    <a:pt x="170" y="8"/>
                  </a:lnTo>
                  <a:lnTo>
                    <a:pt x="180" y="6"/>
                  </a:lnTo>
                  <a:lnTo>
                    <a:pt x="182" y="10"/>
                  </a:lnTo>
                  <a:lnTo>
                    <a:pt x="194" y="16"/>
                  </a:lnTo>
                  <a:lnTo>
                    <a:pt x="196" y="20"/>
                  </a:lnTo>
                  <a:lnTo>
                    <a:pt x="204" y="24"/>
                  </a:lnTo>
                  <a:lnTo>
                    <a:pt x="218" y="32"/>
                  </a:lnTo>
                  <a:lnTo>
                    <a:pt x="200" y="70"/>
                  </a:lnTo>
                  <a:lnTo>
                    <a:pt x="188" y="72"/>
                  </a:lnTo>
                  <a:lnTo>
                    <a:pt x="182" y="68"/>
                  </a:lnTo>
                  <a:lnTo>
                    <a:pt x="172" y="60"/>
                  </a:lnTo>
                  <a:lnTo>
                    <a:pt x="154" y="60"/>
                  </a:lnTo>
                  <a:lnTo>
                    <a:pt x="142" y="62"/>
                  </a:lnTo>
                  <a:lnTo>
                    <a:pt x="124" y="82"/>
                  </a:lnTo>
                  <a:lnTo>
                    <a:pt x="116" y="82"/>
                  </a:lnTo>
                  <a:lnTo>
                    <a:pt x="106" y="82"/>
                  </a:lnTo>
                  <a:lnTo>
                    <a:pt x="98" y="82"/>
                  </a:lnTo>
                  <a:lnTo>
                    <a:pt x="84" y="86"/>
                  </a:lnTo>
                  <a:lnTo>
                    <a:pt x="80" y="86"/>
                  </a:lnTo>
                  <a:lnTo>
                    <a:pt x="74" y="102"/>
                  </a:lnTo>
                  <a:lnTo>
                    <a:pt x="46" y="100"/>
                  </a:lnTo>
                  <a:lnTo>
                    <a:pt x="38" y="100"/>
                  </a:lnTo>
                  <a:lnTo>
                    <a:pt x="28" y="94"/>
                  </a:lnTo>
                  <a:lnTo>
                    <a:pt x="20" y="90"/>
                  </a:lnTo>
                  <a:lnTo>
                    <a:pt x="16" y="94"/>
                  </a:lnTo>
                  <a:lnTo>
                    <a:pt x="4" y="80"/>
                  </a:lnTo>
                  <a:lnTo>
                    <a:pt x="0" y="74"/>
                  </a:lnTo>
                  <a:lnTo>
                    <a:pt x="2" y="58"/>
                  </a:lnTo>
                  <a:lnTo>
                    <a:pt x="2" y="56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6" name="Freeform 29">
              <a:extLst>
                <a:ext uri="{FF2B5EF4-FFF2-40B4-BE49-F238E27FC236}">
                  <a16:creationId xmlns:a16="http://schemas.microsoft.com/office/drawing/2014/main" id="{4EFCBED3-4FBC-4D2B-8F16-481D63046F45}"/>
                </a:ext>
              </a:extLst>
            </p:cNvPr>
            <p:cNvSpPr>
              <a:spLocks/>
            </p:cNvSpPr>
            <p:nvPr/>
          </p:nvSpPr>
          <p:spPr bwMode="gray">
            <a:xfrm>
              <a:off x="3429666" y="3154202"/>
              <a:ext cx="2683976" cy="1885815"/>
            </a:xfrm>
            <a:custGeom>
              <a:avLst/>
              <a:gdLst>
                <a:gd name="T0" fmla="*/ 387 w 260"/>
                <a:gd name="T1" fmla="*/ 388 h 160"/>
                <a:gd name="T2" fmla="*/ 350 w 260"/>
                <a:gd name="T3" fmla="*/ 403 h 160"/>
                <a:gd name="T4" fmla="*/ 318 w 260"/>
                <a:gd name="T5" fmla="*/ 403 h 160"/>
                <a:gd name="T6" fmla="*/ 270 w 260"/>
                <a:gd name="T7" fmla="*/ 408 h 160"/>
                <a:gd name="T8" fmla="*/ 231 w 260"/>
                <a:gd name="T9" fmla="*/ 403 h 160"/>
                <a:gd name="T10" fmla="*/ 157 w 260"/>
                <a:gd name="T11" fmla="*/ 358 h 160"/>
                <a:gd name="T12" fmla="*/ 57 w 260"/>
                <a:gd name="T13" fmla="*/ 321 h 160"/>
                <a:gd name="T14" fmla="*/ 39 w 260"/>
                <a:gd name="T15" fmla="*/ 306 h 160"/>
                <a:gd name="T16" fmla="*/ 16 w 260"/>
                <a:gd name="T17" fmla="*/ 285 h 160"/>
                <a:gd name="T18" fmla="*/ 0 w 260"/>
                <a:gd name="T19" fmla="*/ 250 h 160"/>
                <a:gd name="T20" fmla="*/ 25 w 260"/>
                <a:gd name="T21" fmla="*/ 229 h 160"/>
                <a:gd name="T22" fmla="*/ 31 w 260"/>
                <a:gd name="T23" fmla="*/ 209 h 160"/>
                <a:gd name="T24" fmla="*/ 16 w 260"/>
                <a:gd name="T25" fmla="*/ 198 h 160"/>
                <a:gd name="T26" fmla="*/ 25 w 260"/>
                <a:gd name="T27" fmla="*/ 172 h 160"/>
                <a:gd name="T28" fmla="*/ 48 w 260"/>
                <a:gd name="T29" fmla="*/ 168 h 160"/>
                <a:gd name="T30" fmla="*/ 57 w 260"/>
                <a:gd name="T31" fmla="*/ 153 h 160"/>
                <a:gd name="T32" fmla="*/ 48 w 260"/>
                <a:gd name="T33" fmla="*/ 143 h 160"/>
                <a:gd name="T34" fmla="*/ 16 w 260"/>
                <a:gd name="T35" fmla="*/ 138 h 160"/>
                <a:gd name="T36" fmla="*/ 31 w 260"/>
                <a:gd name="T37" fmla="*/ 126 h 160"/>
                <a:gd name="T38" fmla="*/ 57 w 260"/>
                <a:gd name="T39" fmla="*/ 126 h 160"/>
                <a:gd name="T40" fmla="*/ 72 w 260"/>
                <a:gd name="T41" fmla="*/ 132 h 160"/>
                <a:gd name="T42" fmla="*/ 118 w 260"/>
                <a:gd name="T43" fmla="*/ 132 h 160"/>
                <a:gd name="T44" fmla="*/ 118 w 260"/>
                <a:gd name="T45" fmla="*/ 106 h 160"/>
                <a:gd name="T46" fmla="*/ 157 w 260"/>
                <a:gd name="T47" fmla="*/ 88 h 160"/>
                <a:gd name="T48" fmla="*/ 172 w 260"/>
                <a:gd name="T49" fmla="*/ 76 h 160"/>
                <a:gd name="T50" fmla="*/ 206 w 260"/>
                <a:gd name="T51" fmla="*/ 88 h 160"/>
                <a:gd name="T52" fmla="*/ 245 w 260"/>
                <a:gd name="T53" fmla="*/ 103 h 160"/>
                <a:gd name="T54" fmla="*/ 278 w 260"/>
                <a:gd name="T55" fmla="*/ 103 h 160"/>
                <a:gd name="T56" fmla="*/ 387 w 260"/>
                <a:gd name="T57" fmla="*/ 106 h 160"/>
                <a:gd name="T58" fmla="*/ 415 w 260"/>
                <a:gd name="T59" fmla="*/ 65 h 160"/>
                <a:gd name="T60" fmla="*/ 428 w 260"/>
                <a:gd name="T61" fmla="*/ 65 h 160"/>
                <a:gd name="T62" fmla="*/ 479 w 260"/>
                <a:gd name="T63" fmla="*/ 56 h 160"/>
                <a:gd name="T64" fmla="*/ 516 w 260"/>
                <a:gd name="T65" fmla="*/ 56 h 160"/>
                <a:gd name="T66" fmla="*/ 553 w 260"/>
                <a:gd name="T67" fmla="*/ 56 h 160"/>
                <a:gd name="T68" fmla="*/ 585 w 260"/>
                <a:gd name="T69" fmla="*/ 56 h 160"/>
                <a:gd name="T70" fmla="*/ 658 w 260"/>
                <a:gd name="T71" fmla="*/ 2 h 160"/>
                <a:gd name="T72" fmla="*/ 706 w 260"/>
                <a:gd name="T73" fmla="*/ 0 h 160"/>
                <a:gd name="T74" fmla="*/ 779 w 260"/>
                <a:gd name="T75" fmla="*/ 0 h 160"/>
                <a:gd name="T76" fmla="*/ 816 w 260"/>
                <a:gd name="T77" fmla="*/ 21 h 160"/>
                <a:gd name="T78" fmla="*/ 841 w 260"/>
                <a:gd name="T79" fmla="*/ 30 h 160"/>
                <a:gd name="T80" fmla="*/ 888 w 260"/>
                <a:gd name="T81" fmla="*/ 26 h 160"/>
                <a:gd name="T82" fmla="*/ 894 w 260"/>
                <a:gd name="T83" fmla="*/ 26 h 160"/>
                <a:gd name="T84" fmla="*/ 941 w 260"/>
                <a:gd name="T85" fmla="*/ 47 h 160"/>
                <a:gd name="T86" fmla="*/ 981 w 260"/>
                <a:gd name="T87" fmla="*/ 63 h 160"/>
                <a:gd name="T88" fmla="*/ 1028 w 260"/>
                <a:gd name="T89" fmla="*/ 88 h 160"/>
                <a:gd name="T90" fmla="*/ 999 w 260"/>
                <a:gd name="T91" fmla="*/ 106 h 160"/>
                <a:gd name="T92" fmla="*/ 919 w 260"/>
                <a:gd name="T93" fmla="*/ 122 h 160"/>
                <a:gd name="T94" fmla="*/ 878 w 260"/>
                <a:gd name="T95" fmla="*/ 153 h 160"/>
                <a:gd name="T96" fmla="*/ 816 w 260"/>
                <a:gd name="T97" fmla="*/ 244 h 160"/>
                <a:gd name="T98" fmla="*/ 767 w 260"/>
                <a:gd name="T99" fmla="*/ 300 h 160"/>
                <a:gd name="T100" fmla="*/ 719 w 260"/>
                <a:gd name="T101" fmla="*/ 334 h 160"/>
                <a:gd name="T102" fmla="*/ 696 w 260"/>
                <a:gd name="T103" fmla="*/ 347 h 160"/>
                <a:gd name="T104" fmla="*/ 643 w 260"/>
                <a:gd name="T105" fmla="*/ 347 h 160"/>
                <a:gd name="T106" fmla="*/ 625 w 260"/>
                <a:gd name="T107" fmla="*/ 358 h 160"/>
                <a:gd name="T108" fmla="*/ 610 w 260"/>
                <a:gd name="T109" fmla="*/ 358 h 160"/>
                <a:gd name="T110" fmla="*/ 553 w 260"/>
                <a:gd name="T111" fmla="*/ 351 h 160"/>
                <a:gd name="T112" fmla="*/ 492 w 260"/>
                <a:gd name="T113" fmla="*/ 358 h 160"/>
                <a:gd name="T114" fmla="*/ 387 w 260"/>
                <a:gd name="T115" fmla="*/ 388 h 160"/>
                <a:gd name="T116" fmla="*/ 387 w 260"/>
                <a:gd name="T117" fmla="*/ 388 h 16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60"/>
                <a:gd name="T178" fmla="*/ 0 h 160"/>
                <a:gd name="T179" fmla="*/ 260 w 260"/>
                <a:gd name="T180" fmla="*/ 160 h 16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60" h="160">
                  <a:moveTo>
                    <a:pt x="98" y="152"/>
                  </a:moveTo>
                  <a:lnTo>
                    <a:pt x="88" y="158"/>
                  </a:lnTo>
                  <a:lnTo>
                    <a:pt x="80" y="158"/>
                  </a:lnTo>
                  <a:lnTo>
                    <a:pt x="68" y="160"/>
                  </a:lnTo>
                  <a:lnTo>
                    <a:pt x="58" y="158"/>
                  </a:lnTo>
                  <a:lnTo>
                    <a:pt x="40" y="140"/>
                  </a:lnTo>
                  <a:lnTo>
                    <a:pt x="14" y="126"/>
                  </a:lnTo>
                  <a:lnTo>
                    <a:pt x="10" y="120"/>
                  </a:lnTo>
                  <a:lnTo>
                    <a:pt x="4" y="112"/>
                  </a:lnTo>
                  <a:lnTo>
                    <a:pt x="0" y="98"/>
                  </a:lnTo>
                  <a:lnTo>
                    <a:pt x="6" y="90"/>
                  </a:lnTo>
                  <a:lnTo>
                    <a:pt x="8" y="82"/>
                  </a:lnTo>
                  <a:lnTo>
                    <a:pt x="4" y="78"/>
                  </a:lnTo>
                  <a:lnTo>
                    <a:pt x="6" y="68"/>
                  </a:lnTo>
                  <a:lnTo>
                    <a:pt x="12" y="66"/>
                  </a:lnTo>
                  <a:lnTo>
                    <a:pt x="14" y="60"/>
                  </a:lnTo>
                  <a:lnTo>
                    <a:pt x="12" y="56"/>
                  </a:lnTo>
                  <a:lnTo>
                    <a:pt x="4" y="54"/>
                  </a:lnTo>
                  <a:lnTo>
                    <a:pt x="8" y="50"/>
                  </a:lnTo>
                  <a:lnTo>
                    <a:pt x="14" y="50"/>
                  </a:lnTo>
                  <a:lnTo>
                    <a:pt x="18" y="52"/>
                  </a:lnTo>
                  <a:lnTo>
                    <a:pt x="30" y="52"/>
                  </a:lnTo>
                  <a:lnTo>
                    <a:pt x="30" y="42"/>
                  </a:lnTo>
                  <a:lnTo>
                    <a:pt x="40" y="34"/>
                  </a:lnTo>
                  <a:lnTo>
                    <a:pt x="44" y="30"/>
                  </a:lnTo>
                  <a:lnTo>
                    <a:pt x="52" y="34"/>
                  </a:lnTo>
                  <a:lnTo>
                    <a:pt x="62" y="40"/>
                  </a:lnTo>
                  <a:lnTo>
                    <a:pt x="70" y="40"/>
                  </a:lnTo>
                  <a:lnTo>
                    <a:pt x="98" y="42"/>
                  </a:lnTo>
                  <a:lnTo>
                    <a:pt x="104" y="26"/>
                  </a:lnTo>
                  <a:lnTo>
                    <a:pt x="108" y="26"/>
                  </a:lnTo>
                  <a:lnTo>
                    <a:pt x="122" y="22"/>
                  </a:lnTo>
                  <a:lnTo>
                    <a:pt x="130" y="22"/>
                  </a:lnTo>
                  <a:lnTo>
                    <a:pt x="140" y="22"/>
                  </a:lnTo>
                  <a:lnTo>
                    <a:pt x="148" y="22"/>
                  </a:lnTo>
                  <a:lnTo>
                    <a:pt x="166" y="2"/>
                  </a:lnTo>
                  <a:lnTo>
                    <a:pt x="178" y="0"/>
                  </a:lnTo>
                  <a:lnTo>
                    <a:pt x="196" y="0"/>
                  </a:lnTo>
                  <a:lnTo>
                    <a:pt x="206" y="8"/>
                  </a:lnTo>
                  <a:lnTo>
                    <a:pt x="212" y="12"/>
                  </a:lnTo>
                  <a:lnTo>
                    <a:pt x="224" y="10"/>
                  </a:lnTo>
                  <a:lnTo>
                    <a:pt x="226" y="10"/>
                  </a:lnTo>
                  <a:lnTo>
                    <a:pt x="238" y="18"/>
                  </a:lnTo>
                  <a:lnTo>
                    <a:pt x="248" y="24"/>
                  </a:lnTo>
                  <a:lnTo>
                    <a:pt x="260" y="34"/>
                  </a:lnTo>
                  <a:lnTo>
                    <a:pt x="252" y="42"/>
                  </a:lnTo>
                  <a:lnTo>
                    <a:pt x="232" y="48"/>
                  </a:lnTo>
                  <a:lnTo>
                    <a:pt x="222" y="60"/>
                  </a:lnTo>
                  <a:lnTo>
                    <a:pt x="206" y="96"/>
                  </a:lnTo>
                  <a:lnTo>
                    <a:pt x="194" y="118"/>
                  </a:lnTo>
                  <a:lnTo>
                    <a:pt x="182" y="132"/>
                  </a:lnTo>
                  <a:lnTo>
                    <a:pt x="176" y="136"/>
                  </a:lnTo>
                  <a:lnTo>
                    <a:pt x="162" y="136"/>
                  </a:lnTo>
                  <a:lnTo>
                    <a:pt x="158" y="140"/>
                  </a:lnTo>
                  <a:lnTo>
                    <a:pt x="154" y="140"/>
                  </a:lnTo>
                  <a:lnTo>
                    <a:pt x="140" y="138"/>
                  </a:lnTo>
                  <a:lnTo>
                    <a:pt x="124" y="140"/>
                  </a:lnTo>
                  <a:lnTo>
                    <a:pt x="98" y="152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37" name="Freeform 34">
              <a:extLst>
                <a:ext uri="{FF2B5EF4-FFF2-40B4-BE49-F238E27FC236}">
                  <a16:creationId xmlns:a16="http://schemas.microsoft.com/office/drawing/2014/main" id="{102A58AA-25ED-4258-B894-E1E3E371037F}"/>
                </a:ext>
              </a:extLst>
            </p:cNvPr>
            <p:cNvSpPr>
              <a:spLocks/>
            </p:cNvSpPr>
            <p:nvPr/>
          </p:nvSpPr>
          <p:spPr bwMode="gray">
            <a:xfrm>
              <a:off x="5032186" y="3359712"/>
              <a:ext cx="3716278" cy="2949608"/>
            </a:xfrm>
            <a:custGeom>
              <a:avLst/>
              <a:gdLst>
                <a:gd name="T0" fmla="*/ 16 w 362"/>
                <a:gd name="T1" fmla="*/ 318 h 250"/>
                <a:gd name="T2" fmla="*/ 86 w 362"/>
                <a:gd name="T3" fmla="*/ 306 h 250"/>
                <a:gd name="T4" fmla="*/ 155 w 362"/>
                <a:gd name="T5" fmla="*/ 260 h 250"/>
                <a:gd name="T6" fmla="*/ 260 w 362"/>
                <a:gd name="T7" fmla="*/ 109 h 250"/>
                <a:gd name="T8" fmla="*/ 379 w 362"/>
                <a:gd name="T9" fmla="*/ 63 h 250"/>
                <a:gd name="T10" fmla="*/ 413 w 362"/>
                <a:gd name="T11" fmla="*/ 35 h 250"/>
                <a:gd name="T12" fmla="*/ 486 w 362"/>
                <a:gd name="T13" fmla="*/ 35 h 250"/>
                <a:gd name="T14" fmla="*/ 623 w 362"/>
                <a:gd name="T15" fmla="*/ 53 h 250"/>
                <a:gd name="T16" fmla="*/ 646 w 362"/>
                <a:gd name="T17" fmla="*/ 66 h 250"/>
                <a:gd name="T18" fmla="*/ 673 w 362"/>
                <a:gd name="T19" fmla="*/ 77 h 250"/>
                <a:gd name="T20" fmla="*/ 716 w 362"/>
                <a:gd name="T21" fmla="*/ 66 h 250"/>
                <a:gd name="T22" fmla="*/ 858 w 362"/>
                <a:gd name="T23" fmla="*/ 41 h 250"/>
                <a:gd name="T24" fmla="*/ 890 w 362"/>
                <a:gd name="T25" fmla="*/ 2 h 250"/>
                <a:gd name="T26" fmla="*/ 945 w 362"/>
                <a:gd name="T27" fmla="*/ 0 h 250"/>
                <a:gd name="T28" fmla="*/ 1036 w 362"/>
                <a:gd name="T29" fmla="*/ 93 h 250"/>
                <a:gd name="T30" fmla="*/ 1151 w 362"/>
                <a:gd name="T31" fmla="*/ 185 h 250"/>
                <a:gd name="T32" fmla="*/ 1169 w 362"/>
                <a:gd name="T33" fmla="*/ 265 h 250"/>
                <a:gd name="T34" fmla="*/ 1160 w 362"/>
                <a:gd name="T35" fmla="*/ 368 h 250"/>
                <a:gd name="T36" fmla="*/ 1145 w 362"/>
                <a:gd name="T37" fmla="*/ 388 h 250"/>
                <a:gd name="T38" fmla="*/ 1169 w 362"/>
                <a:gd name="T39" fmla="*/ 409 h 250"/>
                <a:gd name="T40" fmla="*/ 1175 w 362"/>
                <a:gd name="T41" fmla="*/ 409 h 250"/>
                <a:gd name="T42" fmla="*/ 1210 w 362"/>
                <a:gd name="T43" fmla="*/ 437 h 250"/>
                <a:gd name="T44" fmla="*/ 1253 w 362"/>
                <a:gd name="T45" fmla="*/ 424 h 250"/>
                <a:gd name="T46" fmla="*/ 1328 w 362"/>
                <a:gd name="T47" fmla="*/ 409 h 250"/>
                <a:gd name="T48" fmla="*/ 1382 w 362"/>
                <a:gd name="T49" fmla="*/ 421 h 250"/>
                <a:gd name="T50" fmla="*/ 1365 w 362"/>
                <a:gd name="T51" fmla="*/ 465 h 250"/>
                <a:gd name="T52" fmla="*/ 1319 w 362"/>
                <a:gd name="T53" fmla="*/ 493 h 250"/>
                <a:gd name="T54" fmla="*/ 1271 w 362"/>
                <a:gd name="T55" fmla="*/ 509 h 250"/>
                <a:gd name="T56" fmla="*/ 1221 w 362"/>
                <a:gd name="T57" fmla="*/ 586 h 250"/>
                <a:gd name="T58" fmla="*/ 1210 w 362"/>
                <a:gd name="T59" fmla="*/ 647 h 250"/>
                <a:gd name="T60" fmla="*/ 1074 w 362"/>
                <a:gd name="T61" fmla="*/ 621 h 250"/>
                <a:gd name="T62" fmla="*/ 1022 w 362"/>
                <a:gd name="T63" fmla="*/ 606 h 250"/>
                <a:gd name="T64" fmla="*/ 945 w 362"/>
                <a:gd name="T65" fmla="*/ 581 h 250"/>
                <a:gd name="T66" fmla="*/ 778 w 362"/>
                <a:gd name="T67" fmla="*/ 645 h 250"/>
                <a:gd name="T68" fmla="*/ 661 w 362"/>
                <a:gd name="T69" fmla="*/ 621 h 250"/>
                <a:gd name="T70" fmla="*/ 593 w 362"/>
                <a:gd name="T71" fmla="*/ 638 h 250"/>
                <a:gd name="T72" fmla="*/ 491 w 362"/>
                <a:gd name="T73" fmla="*/ 616 h 250"/>
                <a:gd name="T74" fmla="*/ 407 w 362"/>
                <a:gd name="T75" fmla="*/ 628 h 250"/>
                <a:gd name="T76" fmla="*/ 392 w 362"/>
                <a:gd name="T77" fmla="*/ 616 h 250"/>
                <a:gd name="T78" fmla="*/ 382 w 362"/>
                <a:gd name="T79" fmla="*/ 591 h 250"/>
                <a:gd name="T80" fmla="*/ 322 w 362"/>
                <a:gd name="T81" fmla="*/ 564 h 250"/>
                <a:gd name="T82" fmla="*/ 338 w 362"/>
                <a:gd name="T83" fmla="*/ 533 h 250"/>
                <a:gd name="T84" fmla="*/ 353 w 362"/>
                <a:gd name="T85" fmla="*/ 527 h 250"/>
                <a:gd name="T86" fmla="*/ 303 w 362"/>
                <a:gd name="T87" fmla="*/ 517 h 250"/>
                <a:gd name="T88" fmla="*/ 275 w 362"/>
                <a:gd name="T89" fmla="*/ 544 h 250"/>
                <a:gd name="T90" fmla="*/ 232 w 362"/>
                <a:gd name="T91" fmla="*/ 517 h 250"/>
                <a:gd name="T92" fmla="*/ 194 w 362"/>
                <a:gd name="T93" fmla="*/ 503 h 250"/>
                <a:gd name="T94" fmla="*/ 163 w 362"/>
                <a:gd name="T95" fmla="*/ 503 h 250"/>
                <a:gd name="T96" fmla="*/ 169 w 362"/>
                <a:gd name="T97" fmla="*/ 486 h 250"/>
                <a:gd name="T98" fmla="*/ 169 w 362"/>
                <a:gd name="T99" fmla="*/ 478 h 250"/>
                <a:gd name="T100" fmla="*/ 169 w 362"/>
                <a:gd name="T101" fmla="*/ 462 h 250"/>
                <a:gd name="T102" fmla="*/ 179 w 362"/>
                <a:gd name="T103" fmla="*/ 448 h 250"/>
                <a:gd name="T104" fmla="*/ 118 w 362"/>
                <a:gd name="T105" fmla="*/ 431 h 250"/>
                <a:gd name="T106" fmla="*/ 76 w 362"/>
                <a:gd name="T107" fmla="*/ 394 h 250"/>
                <a:gd name="T108" fmla="*/ 70 w 362"/>
                <a:gd name="T109" fmla="*/ 362 h 250"/>
                <a:gd name="T110" fmla="*/ 48 w 362"/>
                <a:gd name="T111" fmla="*/ 348 h 250"/>
                <a:gd name="T112" fmla="*/ 0 w 362"/>
                <a:gd name="T113" fmla="*/ 318 h 25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62"/>
                <a:gd name="T172" fmla="*/ 0 h 250"/>
                <a:gd name="T173" fmla="*/ 362 w 362"/>
                <a:gd name="T174" fmla="*/ 250 h 25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62" h="250">
                  <a:moveTo>
                    <a:pt x="0" y="122"/>
                  </a:moveTo>
                  <a:lnTo>
                    <a:pt x="4" y="122"/>
                  </a:lnTo>
                  <a:lnTo>
                    <a:pt x="8" y="118"/>
                  </a:lnTo>
                  <a:lnTo>
                    <a:pt x="22" y="118"/>
                  </a:lnTo>
                  <a:lnTo>
                    <a:pt x="28" y="114"/>
                  </a:lnTo>
                  <a:lnTo>
                    <a:pt x="40" y="100"/>
                  </a:lnTo>
                  <a:lnTo>
                    <a:pt x="52" y="78"/>
                  </a:lnTo>
                  <a:lnTo>
                    <a:pt x="68" y="42"/>
                  </a:lnTo>
                  <a:lnTo>
                    <a:pt x="78" y="30"/>
                  </a:lnTo>
                  <a:lnTo>
                    <a:pt x="98" y="24"/>
                  </a:lnTo>
                  <a:lnTo>
                    <a:pt x="106" y="16"/>
                  </a:lnTo>
                  <a:lnTo>
                    <a:pt x="108" y="14"/>
                  </a:lnTo>
                  <a:lnTo>
                    <a:pt x="120" y="16"/>
                  </a:lnTo>
                  <a:lnTo>
                    <a:pt x="126" y="14"/>
                  </a:lnTo>
                  <a:lnTo>
                    <a:pt x="142" y="18"/>
                  </a:lnTo>
                  <a:lnTo>
                    <a:pt x="162" y="20"/>
                  </a:lnTo>
                  <a:lnTo>
                    <a:pt x="168" y="18"/>
                  </a:lnTo>
                  <a:lnTo>
                    <a:pt x="168" y="26"/>
                  </a:lnTo>
                  <a:lnTo>
                    <a:pt x="174" y="26"/>
                  </a:lnTo>
                  <a:lnTo>
                    <a:pt x="176" y="30"/>
                  </a:lnTo>
                  <a:lnTo>
                    <a:pt x="182" y="30"/>
                  </a:lnTo>
                  <a:lnTo>
                    <a:pt x="186" y="26"/>
                  </a:lnTo>
                  <a:lnTo>
                    <a:pt x="190" y="20"/>
                  </a:lnTo>
                  <a:lnTo>
                    <a:pt x="224" y="16"/>
                  </a:lnTo>
                  <a:lnTo>
                    <a:pt x="230" y="12"/>
                  </a:lnTo>
                  <a:lnTo>
                    <a:pt x="232" y="2"/>
                  </a:lnTo>
                  <a:lnTo>
                    <a:pt x="242" y="2"/>
                  </a:lnTo>
                  <a:lnTo>
                    <a:pt x="246" y="0"/>
                  </a:lnTo>
                  <a:lnTo>
                    <a:pt x="258" y="4"/>
                  </a:lnTo>
                  <a:lnTo>
                    <a:pt x="270" y="36"/>
                  </a:lnTo>
                  <a:lnTo>
                    <a:pt x="288" y="64"/>
                  </a:lnTo>
                  <a:lnTo>
                    <a:pt x="300" y="72"/>
                  </a:lnTo>
                  <a:lnTo>
                    <a:pt x="306" y="92"/>
                  </a:lnTo>
                  <a:lnTo>
                    <a:pt x="304" y="102"/>
                  </a:lnTo>
                  <a:lnTo>
                    <a:pt x="300" y="128"/>
                  </a:lnTo>
                  <a:lnTo>
                    <a:pt x="302" y="142"/>
                  </a:lnTo>
                  <a:lnTo>
                    <a:pt x="302" y="148"/>
                  </a:lnTo>
                  <a:lnTo>
                    <a:pt x="298" y="150"/>
                  </a:lnTo>
                  <a:lnTo>
                    <a:pt x="302" y="152"/>
                  </a:lnTo>
                  <a:lnTo>
                    <a:pt x="304" y="158"/>
                  </a:lnTo>
                  <a:lnTo>
                    <a:pt x="306" y="158"/>
                  </a:lnTo>
                  <a:lnTo>
                    <a:pt x="308" y="164"/>
                  </a:lnTo>
                  <a:lnTo>
                    <a:pt x="316" y="168"/>
                  </a:lnTo>
                  <a:lnTo>
                    <a:pt x="326" y="170"/>
                  </a:lnTo>
                  <a:lnTo>
                    <a:pt x="326" y="164"/>
                  </a:lnTo>
                  <a:lnTo>
                    <a:pt x="334" y="164"/>
                  </a:lnTo>
                  <a:lnTo>
                    <a:pt x="346" y="158"/>
                  </a:lnTo>
                  <a:lnTo>
                    <a:pt x="358" y="160"/>
                  </a:lnTo>
                  <a:lnTo>
                    <a:pt x="360" y="162"/>
                  </a:lnTo>
                  <a:lnTo>
                    <a:pt x="362" y="170"/>
                  </a:lnTo>
                  <a:lnTo>
                    <a:pt x="356" y="180"/>
                  </a:lnTo>
                  <a:lnTo>
                    <a:pt x="352" y="188"/>
                  </a:lnTo>
                  <a:lnTo>
                    <a:pt x="344" y="190"/>
                  </a:lnTo>
                  <a:lnTo>
                    <a:pt x="338" y="190"/>
                  </a:lnTo>
                  <a:lnTo>
                    <a:pt x="332" y="196"/>
                  </a:lnTo>
                  <a:lnTo>
                    <a:pt x="322" y="210"/>
                  </a:lnTo>
                  <a:lnTo>
                    <a:pt x="318" y="226"/>
                  </a:lnTo>
                  <a:lnTo>
                    <a:pt x="316" y="246"/>
                  </a:lnTo>
                  <a:lnTo>
                    <a:pt x="316" y="250"/>
                  </a:lnTo>
                  <a:lnTo>
                    <a:pt x="304" y="248"/>
                  </a:lnTo>
                  <a:lnTo>
                    <a:pt x="280" y="240"/>
                  </a:lnTo>
                  <a:lnTo>
                    <a:pt x="272" y="234"/>
                  </a:lnTo>
                  <a:lnTo>
                    <a:pt x="266" y="234"/>
                  </a:lnTo>
                  <a:lnTo>
                    <a:pt x="256" y="224"/>
                  </a:lnTo>
                  <a:lnTo>
                    <a:pt x="246" y="224"/>
                  </a:lnTo>
                  <a:lnTo>
                    <a:pt x="234" y="230"/>
                  </a:lnTo>
                  <a:lnTo>
                    <a:pt x="202" y="248"/>
                  </a:lnTo>
                  <a:lnTo>
                    <a:pt x="196" y="248"/>
                  </a:lnTo>
                  <a:lnTo>
                    <a:pt x="172" y="240"/>
                  </a:lnTo>
                  <a:lnTo>
                    <a:pt x="166" y="240"/>
                  </a:lnTo>
                  <a:lnTo>
                    <a:pt x="154" y="246"/>
                  </a:lnTo>
                  <a:lnTo>
                    <a:pt x="148" y="248"/>
                  </a:lnTo>
                  <a:lnTo>
                    <a:pt x="128" y="238"/>
                  </a:lnTo>
                  <a:lnTo>
                    <a:pt x="120" y="238"/>
                  </a:lnTo>
                  <a:lnTo>
                    <a:pt x="106" y="242"/>
                  </a:lnTo>
                  <a:lnTo>
                    <a:pt x="102" y="242"/>
                  </a:lnTo>
                  <a:lnTo>
                    <a:pt x="102" y="238"/>
                  </a:lnTo>
                  <a:lnTo>
                    <a:pt x="106" y="230"/>
                  </a:lnTo>
                  <a:lnTo>
                    <a:pt x="100" y="228"/>
                  </a:lnTo>
                  <a:lnTo>
                    <a:pt x="92" y="224"/>
                  </a:lnTo>
                  <a:lnTo>
                    <a:pt x="84" y="218"/>
                  </a:lnTo>
                  <a:lnTo>
                    <a:pt x="82" y="210"/>
                  </a:lnTo>
                  <a:lnTo>
                    <a:pt x="88" y="206"/>
                  </a:lnTo>
                  <a:lnTo>
                    <a:pt x="94" y="206"/>
                  </a:lnTo>
                  <a:lnTo>
                    <a:pt x="92" y="204"/>
                  </a:lnTo>
                  <a:lnTo>
                    <a:pt x="82" y="196"/>
                  </a:lnTo>
                  <a:lnTo>
                    <a:pt x="78" y="200"/>
                  </a:lnTo>
                  <a:lnTo>
                    <a:pt x="74" y="206"/>
                  </a:lnTo>
                  <a:lnTo>
                    <a:pt x="72" y="210"/>
                  </a:lnTo>
                  <a:lnTo>
                    <a:pt x="64" y="204"/>
                  </a:lnTo>
                  <a:lnTo>
                    <a:pt x="60" y="200"/>
                  </a:lnTo>
                  <a:lnTo>
                    <a:pt x="50" y="200"/>
                  </a:lnTo>
                  <a:lnTo>
                    <a:pt x="50" y="194"/>
                  </a:lnTo>
                  <a:lnTo>
                    <a:pt x="46" y="194"/>
                  </a:lnTo>
                  <a:lnTo>
                    <a:pt x="42" y="194"/>
                  </a:lnTo>
                  <a:lnTo>
                    <a:pt x="40" y="190"/>
                  </a:lnTo>
                  <a:lnTo>
                    <a:pt x="44" y="188"/>
                  </a:lnTo>
                  <a:lnTo>
                    <a:pt x="48" y="186"/>
                  </a:lnTo>
                  <a:lnTo>
                    <a:pt x="44" y="184"/>
                  </a:lnTo>
                  <a:lnTo>
                    <a:pt x="40" y="182"/>
                  </a:lnTo>
                  <a:lnTo>
                    <a:pt x="44" y="178"/>
                  </a:lnTo>
                  <a:lnTo>
                    <a:pt x="46" y="176"/>
                  </a:lnTo>
                  <a:lnTo>
                    <a:pt x="46" y="172"/>
                  </a:lnTo>
                  <a:lnTo>
                    <a:pt x="40" y="170"/>
                  </a:lnTo>
                  <a:lnTo>
                    <a:pt x="30" y="166"/>
                  </a:lnTo>
                  <a:lnTo>
                    <a:pt x="18" y="154"/>
                  </a:lnTo>
                  <a:lnTo>
                    <a:pt x="20" y="152"/>
                  </a:lnTo>
                  <a:lnTo>
                    <a:pt x="18" y="148"/>
                  </a:lnTo>
                  <a:lnTo>
                    <a:pt x="18" y="140"/>
                  </a:lnTo>
                  <a:lnTo>
                    <a:pt x="14" y="140"/>
                  </a:lnTo>
                  <a:lnTo>
                    <a:pt x="12" y="134"/>
                  </a:lnTo>
                  <a:lnTo>
                    <a:pt x="2" y="130"/>
                  </a:lnTo>
                  <a:lnTo>
                    <a:pt x="0" y="122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38" name="Ellipse 37">
            <a:extLst>
              <a:ext uri="{FF2B5EF4-FFF2-40B4-BE49-F238E27FC236}">
                <a16:creationId xmlns:a16="http://schemas.microsoft.com/office/drawing/2014/main" id="{944A79CF-0E66-4BD6-8B50-C7D7653CDA7D}"/>
              </a:ext>
            </a:extLst>
          </p:cNvPr>
          <p:cNvSpPr/>
          <p:nvPr/>
        </p:nvSpPr>
        <p:spPr>
          <a:xfrm>
            <a:off x="5852848" y="2486681"/>
            <a:ext cx="46038" cy="46038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A49F3607-C11E-4BBF-B913-36F659771820}"/>
              </a:ext>
            </a:extLst>
          </p:cNvPr>
          <p:cNvSpPr/>
          <p:nvPr/>
        </p:nvSpPr>
        <p:spPr>
          <a:xfrm>
            <a:off x="4615916" y="2583025"/>
            <a:ext cx="46038" cy="46038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/>
          </a:p>
        </p:txBody>
      </p:sp>
      <p:sp>
        <p:nvSpPr>
          <p:cNvPr id="40" name="Ellipse 39">
            <a:extLst>
              <a:ext uri="{FF2B5EF4-FFF2-40B4-BE49-F238E27FC236}">
                <a16:creationId xmlns:a16="http://schemas.microsoft.com/office/drawing/2014/main" id="{9A3340C7-8AC8-4D11-86D0-971AEB72A233}"/>
              </a:ext>
            </a:extLst>
          </p:cNvPr>
          <p:cNvSpPr/>
          <p:nvPr/>
        </p:nvSpPr>
        <p:spPr>
          <a:xfrm>
            <a:off x="3496683" y="1994609"/>
            <a:ext cx="46038" cy="46038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/>
          </a:p>
        </p:txBody>
      </p:sp>
      <p:sp>
        <p:nvSpPr>
          <p:cNvPr id="41" name="Ellipse 40">
            <a:extLst>
              <a:ext uri="{FF2B5EF4-FFF2-40B4-BE49-F238E27FC236}">
                <a16:creationId xmlns:a16="http://schemas.microsoft.com/office/drawing/2014/main" id="{668248B1-6B5B-4AB2-B805-8D7979967AC2}"/>
              </a:ext>
            </a:extLst>
          </p:cNvPr>
          <p:cNvSpPr/>
          <p:nvPr/>
        </p:nvSpPr>
        <p:spPr>
          <a:xfrm>
            <a:off x="3408835" y="2451639"/>
            <a:ext cx="46038" cy="46038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/>
          </a:p>
        </p:txBody>
      </p:sp>
      <p:sp>
        <p:nvSpPr>
          <p:cNvPr id="42" name="Ellipse 41">
            <a:extLst>
              <a:ext uri="{FF2B5EF4-FFF2-40B4-BE49-F238E27FC236}">
                <a16:creationId xmlns:a16="http://schemas.microsoft.com/office/drawing/2014/main" id="{9066C261-9037-493E-BD15-EF5FE5283269}"/>
              </a:ext>
            </a:extLst>
          </p:cNvPr>
          <p:cNvSpPr/>
          <p:nvPr/>
        </p:nvSpPr>
        <p:spPr>
          <a:xfrm>
            <a:off x="3431854" y="3011457"/>
            <a:ext cx="46038" cy="46038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/>
          </a:p>
        </p:txBody>
      </p:sp>
      <p:sp>
        <p:nvSpPr>
          <p:cNvPr id="43" name="Ellipse 42">
            <a:extLst>
              <a:ext uri="{FF2B5EF4-FFF2-40B4-BE49-F238E27FC236}">
                <a16:creationId xmlns:a16="http://schemas.microsoft.com/office/drawing/2014/main" id="{126A4EFF-6746-4876-91E6-C555C8148EB7}"/>
              </a:ext>
            </a:extLst>
          </p:cNvPr>
          <p:cNvSpPr/>
          <p:nvPr/>
        </p:nvSpPr>
        <p:spPr>
          <a:xfrm>
            <a:off x="8610646" y="4886067"/>
            <a:ext cx="46038" cy="46038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/>
          </a:p>
        </p:txBody>
      </p:sp>
      <p:sp>
        <p:nvSpPr>
          <p:cNvPr id="44" name="Ellipse 43">
            <a:extLst>
              <a:ext uri="{FF2B5EF4-FFF2-40B4-BE49-F238E27FC236}">
                <a16:creationId xmlns:a16="http://schemas.microsoft.com/office/drawing/2014/main" id="{FDAA4FC3-31C4-46CA-9F33-309C0AA5428C}"/>
              </a:ext>
            </a:extLst>
          </p:cNvPr>
          <p:cNvSpPr/>
          <p:nvPr/>
        </p:nvSpPr>
        <p:spPr>
          <a:xfrm>
            <a:off x="8466630" y="6090658"/>
            <a:ext cx="46038" cy="46038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/>
          </a:p>
        </p:txBody>
      </p:sp>
      <p:sp>
        <p:nvSpPr>
          <p:cNvPr id="45" name="Ellipse 44">
            <a:extLst>
              <a:ext uri="{FF2B5EF4-FFF2-40B4-BE49-F238E27FC236}">
                <a16:creationId xmlns:a16="http://schemas.microsoft.com/office/drawing/2014/main" id="{5767C0B3-F4F3-4698-8127-B1702C147288}"/>
              </a:ext>
            </a:extLst>
          </p:cNvPr>
          <p:cNvSpPr/>
          <p:nvPr/>
        </p:nvSpPr>
        <p:spPr>
          <a:xfrm>
            <a:off x="5318195" y="4141210"/>
            <a:ext cx="46038" cy="46038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/>
          </a:p>
        </p:txBody>
      </p:sp>
      <p:pic>
        <p:nvPicPr>
          <p:cNvPr id="46" name="Picture 2">
            <a:extLst>
              <a:ext uri="{FF2B5EF4-FFF2-40B4-BE49-F238E27FC236}">
                <a16:creationId xmlns:a16="http://schemas.microsoft.com/office/drawing/2014/main" id="{4167AE3F-9E64-494E-BA48-EB6C409918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1333" y="2873631"/>
            <a:ext cx="462986" cy="3109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" name="Textfeld 46">
            <a:extLst>
              <a:ext uri="{FF2B5EF4-FFF2-40B4-BE49-F238E27FC236}">
                <a16:creationId xmlns:a16="http://schemas.microsoft.com/office/drawing/2014/main" id="{0647F626-2233-4EEC-990D-0B935F2D04C2}"/>
              </a:ext>
            </a:extLst>
          </p:cNvPr>
          <p:cNvSpPr txBox="1"/>
          <p:nvPr/>
        </p:nvSpPr>
        <p:spPr>
          <a:xfrm>
            <a:off x="2425862" y="2402584"/>
            <a:ext cx="48442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b="1" dirty="0"/>
              <a:t>VTP</a:t>
            </a:r>
            <a:endParaRPr lang="en-GB" sz="1200" b="1" dirty="0"/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72CA2F2-7261-49EF-B0CC-315799D0DAE9}"/>
              </a:ext>
            </a:extLst>
          </p:cNvPr>
          <p:cNvSpPr/>
          <p:nvPr/>
        </p:nvSpPr>
        <p:spPr>
          <a:xfrm>
            <a:off x="2651124" y="2691680"/>
            <a:ext cx="46038" cy="45719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/>
          </a:p>
        </p:txBody>
      </p:sp>
      <p:pic>
        <p:nvPicPr>
          <p:cNvPr id="49" name="Picture 2">
            <a:extLst>
              <a:ext uri="{FF2B5EF4-FFF2-40B4-BE49-F238E27FC236}">
                <a16:creationId xmlns:a16="http://schemas.microsoft.com/office/drawing/2014/main" id="{2FCCF295-83E4-4692-9364-A87F61AC25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5414" y="3509662"/>
            <a:ext cx="554679" cy="2784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" name="Picture 4" descr="Bildergebnis für romania flag">
            <a:extLst>
              <a:ext uri="{FF2B5EF4-FFF2-40B4-BE49-F238E27FC236}">
                <a16:creationId xmlns:a16="http://schemas.microsoft.com/office/drawing/2014/main" id="{16A09042-A7ED-403C-8BC5-82888DB252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8154" y="3930726"/>
            <a:ext cx="504056" cy="336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2" descr="Bildergebnis für slovakian flag">
            <a:extLst>
              <a:ext uri="{FF2B5EF4-FFF2-40B4-BE49-F238E27FC236}">
                <a16:creationId xmlns:a16="http://schemas.microsoft.com/office/drawing/2014/main" id="{5668BF2E-E5C2-4D7A-B645-30BFA984DC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2755" y="1748789"/>
            <a:ext cx="557822" cy="371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Pfeil nach rechts 29">
            <a:extLst>
              <a:ext uri="{FF2B5EF4-FFF2-40B4-BE49-F238E27FC236}">
                <a16:creationId xmlns:a16="http://schemas.microsoft.com/office/drawing/2014/main" id="{CD6926F0-4888-45D6-9A4B-ECBB5CA08AF8}"/>
              </a:ext>
            </a:extLst>
          </p:cNvPr>
          <p:cNvSpPr/>
          <p:nvPr/>
        </p:nvSpPr>
        <p:spPr>
          <a:xfrm rot="13597462">
            <a:off x="3455437" y="3137083"/>
            <a:ext cx="246880" cy="64724"/>
          </a:xfrm>
          <a:prstGeom prst="rightArrow">
            <a:avLst/>
          </a:prstGeom>
          <a:solidFill>
            <a:schemeClr val="accent5">
              <a:lumMod val="25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3" name="Pfeil nach rechts 29">
            <a:extLst>
              <a:ext uri="{FF2B5EF4-FFF2-40B4-BE49-F238E27FC236}">
                <a16:creationId xmlns:a16="http://schemas.microsoft.com/office/drawing/2014/main" id="{C3828F53-A7C1-417F-9097-752A149EB3A6}"/>
              </a:ext>
            </a:extLst>
          </p:cNvPr>
          <p:cNvSpPr/>
          <p:nvPr/>
        </p:nvSpPr>
        <p:spPr>
          <a:xfrm rot="13597462">
            <a:off x="4384178" y="2428708"/>
            <a:ext cx="246880" cy="64724"/>
          </a:xfrm>
          <a:prstGeom prst="rightArrow">
            <a:avLst/>
          </a:prstGeom>
          <a:solidFill>
            <a:schemeClr val="accent5">
              <a:lumMod val="25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4" name="Pfeil nach rechts 29">
            <a:extLst>
              <a:ext uri="{FF2B5EF4-FFF2-40B4-BE49-F238E27FC236}">
                <a16:creationId xmlns:a16="http://schemas.microsoft.com/office/drawing/2014/main" id="{9F3F3BCF-EEF5-454E-8FB8-9C06BFE34FF0}"/>
              </a:ext>
            </a:extLst>
          </p:cNvPr>
          <p:cNvSpPr/>
          <p:nvPr/>
        </p:nvSpPr>
        <p:spPr>
          <a:xfrm rot="10800000">
            <a:off x="3528401" y="2444687"/>
            <a:ext cx="246880" cy="64724"/>
          </a:xfrm>
          <a:prstGeom prst="rightArrow">
            <a:avLst/>
          </a:prstGeom>
          <a:solidFill>
            <a:schemeClr val="accent5">
              <a:lumMod val="25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5" name="Pfeil nach rechts 29">
            <a:extLst>
              <a:ext uri="{FF2B5EF4-FFF2-40B4-BE49-F238E27FC236}">
                <a16:creationId xmlns:a16="http://schemas.microsoft.com/office/drawing/2014/main" id="{B741A2F3-1F08-4FD3-AA19-5E21149F0517}"/>
              </a:ext>
            </a:extLst>
          </p:cNvPr>
          <p:cNvSpPr/>
          <p:nvPr/>
        </p:nvSpPr>
        <p:spPr>
          <a:xfrm rot="16018015">
            <a:off x="4538516" y="2776451"/>
            <a:ext cx="246880" cy="64724"/>
          </a:xfrm>
          <a:prstGeom prst="rightArrow">
            <a:avLst/>
          </a:prstGeom>
          <a:solidFill>
            <a:schemeClr val="accent5">
              <a:lumMod val="25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6" name="Pfeil nach rechts 29">
            <a:extLst>
              <a:ext uri="{FF2B5EF4-FFF2-40B4-BE49-F238E27FC236}">
                <a16:creationId xmlns:a16="http://schemas.microsoft.com/office/drawing/2014/main" id="{B6E5C601-8E9C-4B8A-A7B7-51440851FA61}"/>
              </a:ext>
            </a:extLst>
          </p:cNvPr>
          <p:cNvSpPr/>
          <p:nvPr/>
        </p:nvSpPr>
        <p:spPr>
          <a:xfrm rot="13597462">
            <a:off x="5078157" y="3996899"/>
            <a:ext cx="246880" cy="64724"/>
          </a:xfrm>
          <a:prstGeom prst="rightArrow">
            <a:avLst/>
          </a:prstGeom>
          <a:solidFill>
            <a:srgbClr val="FFFF00"/>
          </a:solidFill>
          <a:ln>
            <a:solidFill>
              <a:schemeClr val="accent4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7" name="Pfeil nach rechts 29">
            <a:extLst>
              <a:ext uri="{FF2B5EF4-FFF2-40B4-BE49-F238E27FC236}">
                <a16:creationId xmlns:a16="http://schemas.microsoft.com/office/drawing/2014/main" id="{AAC21961-2F57-4CAD-BDFA-9EB720A1DF79}"/>
              </a:ext>
            </a:extLst>
          </p:cNvPr>
          <p:cNvSpPr/>
          <p:nvPr/>
        </p:nvSpPr>
        <p:spPr>
          <a:xfrm rot="13597462">
            <a:off x="5349091" y="4295460"/>
            <a:ext cx="246880" cy="64724"/>
          </a:xfrm>
          <a:prstGeom prst="rightArrow">
            <a:avLst/>
          </a:prstGeom>
          <a:solidFill>
            <a:srgbClr val="FFFF00"/>
          </a:solidFill>
          <a:ln>
            <a:solidFill>
              <a:schemeClr val="accent4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8" name="Pfeil nach rechts 29">
            <a:extLst>
              <a:ext uri="{FF2B5EF4-FFF2-40B4-BE49-F238E27FC236}">
                <a16:creationId xmlns:a16="http://schemas.microsoft.com/office/drawing/2014/main" id="{48C38B76-3557-4D2F-B093-4EF6042BE22C}"/>
              </a:ext>
            </a:extLst>
          </p:cNvPr>
          <p:cNvSpPr/>
          <p:nvPr/>
        </p:nvSpPr>
        <p:spPr>
          <a:xfrm rot="8595527">
            <a:off x="3168723" y="2573682"/>
            <a:ext cx="246880" cy="64724"/>
          </a:xfrm>
          <a:prstGeom prst="rightArrow">
            <a:avLst/>
          </a:prstGeom>
          <a:solidFill>
            <a:schemeClr val="accent5">
              <a:lumMod val="25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9" name="Ellipse 58">
            <a:extLst>
              <a:ext uri="{FF2B5EF4-FFF2-40B4-BE49-F238E27FC236}">
                <a16:creationId xmlns:a16="http://schemas.microsoft.com/office/drawing/2014/main" id="{BADBE7E9-323C-4FB6-88C7-757108103600}"/>
              </a:ext>
            </a:extLst>
          </p:cNvPr>
          <p:cNvSpPr/>
          <p:nvPr/>
        </p:nvSpPr>
        <p:spPr>
          <a:xfrm rot="19042264">
            <a:off x="5091750" y="3702504"/>
            <a:ext cx="557822" cy="1026739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0" name="Freihandform: Form 59">
            <a:extLst>
              <a:ext uri="{FF2B5EF4-FFF2-40B4-BE49-F238E27FC236}">
                <a16:creationId xmlns:a16="http://schemas.microsoft.com/office/drawing/2014/main" id="{0BBBAE38-6F8D-460B-9004-5278B4DA965D}"/>
              </a:ext>
            </a:extLst>
          </p:cNvPr>
          <p:cNvSpPr/>
          <p:nvPr/>
        </p:nvSpPr>
        <p:spPr>
          <a:xfrm>
            <a:off x="3016098" y="2207931"/>
            <a:ext cx="1885950" cy="847725"/>
          </a:xfrm>
          <a:custGeom>
            <a:avLst/>
            <a:gdLst>
              <a:gd name="connsiteX0" fmla="*/ 114300 w 1885950"/>
              <a:gd name="connsiteY0" fmla="*/ 247650 h 847725"/>
              <a:gd name="connsiteX1" fmla="*/ 114300 w 1885950"/>
              <a:gd name="connsiteY1" fmla="*/ 247650 h 847725"/>
              <a:gd name="connsiteX2" fmla="*/ 47625 w 1885950"/>
              <a:gd name="connsiteY2" fmla="*/ 295275 h 847725"/>
              <a:gd name="connsiteX3" fmla="*/ 0 w 1885950"/>
              <a:gd name="connsiteY3" fmla="*/ 381000 h 847725"/>
              <a:gd name="connsiteX4" fmla="*/ 9525 w 1885950"/>
              <a:gd name="connsiteY4" fmla="*/ 476250 h 847725"/>
              <a:gd name="connsiteX5" fmla="*/ 38100 w 1885950"/>
              <a:gd name="connsiteY5" fmla="*/ 533400 h 847725"/>
              <a:gd name="connsiteX6" fmla="*/ 66675 w 1885950"/>
              <a:gd name="connsiteY6" fmla="*/ 552450 h 847725"/>
              <a:gd name="connsiteX7" fmla="*/ 95250 w 1885950"/>
              <a:gd name="connsiteY7" fmla="*/ 581025 h 847725"/>
              <a:gd name="connsiteX8" fmla="*/ 123825 w 1885950"/>
              <a:gd name="connsiteY8" fmla="*/ 590550 h 847725"/>
              <a:gd name="connsiteX9" fmla="*/ 152400 w 1885950"/>
              <a:gd name="connsiteY9" fmla="*/ 609600 h 847725"/>
              <a:gd name="connsiteX10" fmla="*/ 285750 w 1885950"/>
              <a:gd name="connsiteY10" fmla="*/ 600075 h 847725"/>
              <a:gd name="connsiteX11" fmla="*/ 342900 w 1885950"/>
              <a:gd name="connsiteY11" fmla="*/ 571500 h 847725"/>
              <a:gd name="connsiteX12" fmla="*/ 371475 w 1885950"/>
              <a:gd name="connsiteY12" fmla="*/ 542925 h 847725"/>
              <a:gd name="connsiteX13" fmla="*/ 400050 w 1885950"/>
              <a:gd name="connsiteY13" fmla="*/ 533400 h 847725"/>
              <a:gd name="connsiteX14" fmla="*/ 466725 w 1885950"/>
              <a:gd name="connsiteY14" fmla="*/ 495300 h 847725"/>
              <a:gd name="connsiteX15" fmla="*/ 523875 w 1885950"/>
              <a:gd name="connsiteY15" fmla="*/ 457200 h 847725"/>
              <a:gd name="connsiteX16" fmla="*/ 619125 w 1885950"/>
              <a:gd name="connsiteY16" fmla="*/ 428625 h 847725"/>
              <a:gd name="connsiteX17" fmla="*/ 990600 w 1885950"/>
              <a:gd name="connsiteY17" fmla="*/ 438150 h 847725"/>
              <a:gd name="connsiteX18" fmla="*/ 1028700 w 1885950"/>
              <a:gd name="connsiteY18" fmla="*/ 447675 h 847725"/>
              <a:gd name="connsiteX19" fmla="*/ 1095375 w 1885950"/>
              <a:gd name="connsiteY19" fmla="*/ 457200 h 847725"/>
              <a:gd name="connsiteX20" fmla="*/ 1190625 w 1885950"/>
              <a:gd name="connsiteY20" fmla="*/ 476250 h 847725"/>
              <a:gd name="connsiteX21" fmla="*/ 1266825 w 1885950"/>
              <a:gd name="connsiteY21" fmla="*/ 495300 h 847725"/>
              <a:gd name="connsiteX22" fmla="*/ 1323975 w 1885950"/>
              <a:gd name="connsiteY22" fmla="*/ 533400 h 847725"/>
              <a:gd name="connsiteX23" fmla="*/ 1352550 w 1885950"/>
              <a:gd name="connsiteY23" fmla="*/ 552450 h 847725"/>
              <a:gd name="connsiteX24" fmla="*/ 1381125 w 1885950"/>
              <a:gd name="connsiteY24" fmla="*/ 609600 h 847725"/>
              <a:gd name="connsiteX25" fmla="*/ 1400175 w 1885950"/>
              <a:gd name="connsiteY25" fmla="*/ 666750 h 847725"/>
              <a:gd name="connsiteX26" fmla="*/ 1409700 w 1885950"/>
              <a:gd name="connsiteY26" fmla="*/ 695325 h 847725"/>
              <a:gd name="connsiteX27" fmla="*/ 1428750 w 1885950"/>
              <a:gd name="connsiteY27" fmla="*/ 723900 h 847725"/>
              <a:gd name="connsiteX28" fmla="*/ 1438275 w 1885950"/>
              <a:gd name="connsiteY28" fmla="*/ 752475 h 847725"/>
              <a:gd name="connsiteX29" fmla="*/ 1552575 w 1885950"/>
              <a:gd name="connsiteY29" fmla="*/ 809625 h 847725"/>
              <a:gd name="connsiteX30" fmla="*/ 1581150 w 1885950"/>
              <a:gd name="connsiteY30" fmla="*/ 819150 h 847725"/>
              <a:gd name="connsiteX31" fmla="*/ 1609725 w 1885950"/>
              <a:gd name="connsiteY31" fmla="*/ 828675 h 847725"/>
              <a:gd name="connsiteX32" fmla="*/ 1676400 w 1885950"/>
              <a:gd name="connsiteY32" fmla="*/ 847725 h 847725"/>
              <a:gd name="connsiteX33" fmla="*/ 1781175 w 1885950"/>
              <a:gd name="connsiteY33" fmla="*/ 828675 h 847725"/>
              <a:gd name="connsiteX34" fmla="*/ 1809750 w 1885950"/>
              <a:gd name="connsiteY34" fmla="*/ 809625 h 847725"/>
              <a:gd name="connsiteX35" fmla="*/ 1838325 w 1885950"/>
              <a:gd name="connsiteY35" fmla="*/ 781050 h 847725"/>
              <a:gd name="connsiteX36" fmla="*/ 1876425 w 1885950"/>
              <a:gd name="connsiteY36" fmla="*/ 723900 h 847725"/>
              <a:gd name="connsiteX37" fmla="*/ 1885950 w 1885950"/>
              <a:gd name="connsiteY37" fmla="*/ 695325 h 847725"/>
              <a:gd name="connsiteX38" fmla="*/ 1876425 w 1885950"/>
              <a:gd name="connsiteY38" fmla="*/ 542925 h 847725"/>
              <a:gd name="connsiteX39" fmla="*/ 1847850 w 1885950"/>
              <a:gd name="connsiteY39" fmla="*/ 457200 h 847725"/>
              <a:gd name="connsiteX40" fmla="*/ 1809750 w 1885950"/>
              <a:gd name="connsiteY40" fmla="*/ 342900 h 847725"/>
              <a:gd name="connsiteX41" fmla="*/ 1781175 w 1885950"/>
              <a:gd name="connsiteY41" fmla="*/ 285750 h 847725"/>
              <a:gd name="connsiteX42" fmla="*/ 1752600 w 1885950"/>
              <a:gd name="connsiteY42" fmla="*/ 266700 h 847725"/>
              <a:gd name="connsiteX43" fmla="*/ 1743075 w 1885950"/>
              <a:gd name="connsiteY43" fmla="*/ 238125 h 847725"/>
              <a:gd name="connsiteX44" fmla="*/ 1714500 w 1885950"/>
              <a:gd name="connsiteY44" fmla="*/ 219075 h 847725"/>
              <a:gd name="connsiteX45" fmla="*/ 1628775 w 1885950"/>
              <a:gd name="connsiteY45" fmla="*/ 152400 h 847725"/>
              <a:gd name="connsiteX46" fmla="*/ 1600200 w 1885950"/>
              <a:gd name="connsiteY46" fmla="*/ 133350 h 847725"/>
              <a:gd name="connsiteX47" fmla="*/ 1571625 w 1885950"/>
              <a:gd name="connsiteY47" fmla="*/ 114300 h 847725"/>
              <a:gd name="connsiteX48" fmla="*/ 1543050 w 1885950"/>
              <a:gd name="connsiteY48" fmla="*/ 104775 h 847725"/>
              <a:gd name="connsiteX49" fmla="*/ 1447800 w 1885950"/>
              <a:gd name="connsiteY49" fmla="*/ 66675 h 847725"/>
              <a:gd name="connsiteX50" fmla="*/ 1323975 w 1885950"/>
              <a:gd name="connsiteY50" fmla="*/ 47625 h 847725"/>
              <a:gd name="connsiteX51" fmla="*/ 1228725 w 1885950"/>
              <a:gd name="connsiteY51" fmla="*/ 28575 h 847725"/>
              <a:gd name="connsiteX52" fmla="*/ 1171575 w 1885950"/>
              <a:gd name="connsiteY52" fmla="*/ 19050 h 847725"/>
              <a:gd name="connsiteX53" fmla="*/ 962025 w 1885950"/>
              <a:gd name="connsiteY53" fmla="*/ 0 h 847725"/>
              <a:gd name="connsiteX54" fmla="*/ 552450 w 1885950"/>
              <a:gd name="connsiteY54" fmla="*/ 9525 h 847725"/>
              <a:gd name="connsiteX55" fmla="*/ 457200 w 1885950"/>
              <a:gd name="connsiteY55" fmla="*/ 28575 h 847725"/>
              <a:gd name="connsiteX56" fmla="*/ 428625 w 1885950"/>
              <a:gd name="connsiteY56" fmla="*/ 47625 h 847725"/>
              <a:gd name="connsiteX57" fmla="*/ 371475 w 1885950"/>
              <a:gd name="connsiteY57" fmla="*/ 66675 h 847725"/>
              <a:gd name="connsiteX58" fmla="*/ 342900 w 1885950"/>
              <a:gd name="connsiteY58" fmla="*/ 85725 h 847725"/>
              <a:gd name="connsiteX59" fmla="*/ 285750 w 1885950"/>
              <a:gd name="connsiteY59" fmla="*/ 104775 h 847725"/>
              <a:gd name="connsiteX60" fmla="*/ 257175 w 1885950"/>
              <a:gd name="connsiteY60" fmla="*/ 114300 h 847725"/>
              <a:gd name="connsiteX61" fmla="*/ 200025 w 1885950"/>
              <a:gd name="connsiteY61" fmla="*/ 142875 h 847725"/>
              <a:gd name="connsiteX62" fmla="*/ 171450 w 1885950"/>
              <a:gd name="connsiteY62" fmla="*/ 171450 h 847725"/>
              <a:gd name="connsiteX63" fmla="*/ 142875 w 1885950"/>
              <a:gd name="connsiteY63" fmla="*/ 190500 h 847725"/>
              <a:gd name="connsiteX64" fmla="*/ 114300 w 1885950"/>
              <a:gd name="connsiteY64" fmla="*/ 247650 h 847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1885950" h="847725">
                <a:moveTo>
                  <a:pt x="114300" y="247650"/>
                </a:moveTo>
                <a:lnTo>
                  <a:pt x="114300" y="247650"/>
                </a:lnTo>
                <a:cubicBezTo>
                  <a:pt x="92075" y="263525"/>
                  <a:pt x="66938" y="275962"/>
                  <a:pt x="47625" y="295275"/>
                </a:cubicBezTo>
                <a:cubicBezTo>
                  <a:pt x="14873" y="328027"/>
                  <a:pt x="11978" y="345067"/>
                  <a:pt x="0" y="381000"/>
                </a:cubicBezTo>
                <a:cubicBezTo>
                  <a:pt x="3175" y="412750"/>
                  <a:pt x="4673" y="444713"/>
                  <a:pt x="9525" y="476250"/>
                </a:cubicBezTo>
                <a:cubicBezTo>
                  <a:pt x="12342" y="494561"/>
                  <a:pt x="25256" y="520556"/>
                  <a:pt x="38100" y="533400"/>
                </a:cubicBezTo>
                <a:cubicBezTo>
                  <a:pt x="46195" y="541495"/>
                  <a:pt x="57881" y="545121"/>
                  <a:pt x="66675" y="552450"/>
                </a:cubicBezTo>
                <a:cubicBezTo>
                  <a:pt x="77023" y="561074"/>
                  <a:pt x="84042" y="573553"/>
                  <a:pt x="95250" y="581025"/>
                </a:cubicBezTo>
                <a:cubicBezTo>
                  <a:pt x="103604" y="586594"/>
                  <a:pt x="114845" y="586060"/>
                  <a:pt x="123825" y="590550"/>
                </a:cubicBezTo>
                <a:cubicBezTo>
                  <a:pt x="134064" y="595670"/>
                  <a:pt x="142875" y="603250"/>
                  <a:pt x="152400" y="609600"/>
                </a:cubicBezTo>
                <a:cubicBezTo>
                  <a:pt x="196850" y="606425"/>
                  <a:pt x="241492" y="605282"/>
                  <a:pt x="285750" y="600075"/>
                </a:cubicBezTo>
                <a:cubicBezTo>
                  <a:pt x="305758" y="597721"/>
                  <a:pt x="328121" y="583815"/>
                  <a:pt x="342900" y="571500"/>
                </a:cubicBezTo>
                <a:cubicBezTo>
                  <a:pt x="353248" y="562876"/>
                  <a:pt x="360267" y="550397"/>
                  <a:pt x="371475" y="542925"/>
                </a:cubicBezTo>
                <a:cubicBezTo>
                  <a:pt x="379829" y="537356"/>
                  <a:pt x="390525" y="536575"/>
                  <a:pt x="400050" y="533400"/>
                </a:cubicBezTo>
                <a:cubicBezTo>
                  <a:pt x="464207" y="469243"/>
                  <a:pt x="389973" y="533676"/>
                  <a:pt x="466725" y="495300"/>
                </a:cubicBezTo>
                <a:cubicBezTo>
                  <a:pt x="487203" y="485061"/>
                  <a:pt x="502155" y="464440"/>
                  <a:pt x="523875" y="457200"/>
                </a:cubicBezTo>
                <a:cubicBezTo>
                  <a:pt x="593444" y="434010"/>
                  <a:pt x="561544" y="443020"/>
                  <a:pt x="619125" y="428625"/>
                </a:cubicBezTo>
                <a:cubicBezTo>
                  <a:pt x="742950" y="431800"/>
                  <a:pt x="866868" y="432395"/>
                  <a:pt x="990600" y="438150"/>
                </a:cubicBezTo>
                <a:cubicBezTo>
                  <a:pt x="1003677" y="438758"/>
                  <a:pt x="1015820" y="445333"/>
                  <a:pt x="1028700" y="447675"/>
                </a:cubicBezTo>
                <a:cubicBezTo>
                  <a:pt x="1050789" y="451691"/>
                  <a:pt x="1073150" y="454025"/>
                  <a:pt x="1095375" y="457200"/>
                </a:cubicBezTo>
                <a:cubicBezTo>
                  <a:pt x="1150143" y="475456"/>
                  <a:pt x="1103066" y="461657"/>
                  <a:pt x="1190625" y="476250"/>
                </a:cubicBezTo>
                <a:cubicBezTo>
                  <a:pt x="1202689" y="478261"/>
                  <a:pt x="1251051" y="486537"/>
                  <a:pt x="1266825" y="495300"/>
                </a:cubicBezTo>
                <a:cubicBezTo>
                  <a:pt x="1286839" y="506419"/>
                  <a:pt x="1304925" y="520700"/>
                  <a:pt x="1323975" y="533400"/>
                </a:cubicBezTo>
                <a:lnTo>
                  <a:pt x="1352550" y="552450"/>
                </a:lnTo>
                <a:cubicBezTo>
                  <a:pt x="1387288" y="656663"/>
                  <a:pt x="1331886" y="498813"/>
                  <a:pt x="1381125" y="609600"/>
                </a:cubicBezTo>
                <a:cubicBezTo>
                  <a:pt x="1389280" y="627950"/>
                  <a:pt x="1393825" y="647700"/>
                  <a:pt x="1400175" y="666750"/>
                </a:cubicBezTo>
                <a:cubicBezTo>
                  <a:pt x="1403350" y="676275"/>
                  <a:pt x="1404131" y="686971"/>
                  <a:pt x="1409700" y="695325"/>
                </a:cubicBezTo>
                <a:cubicBezTo>
                  <a:pt x="1416050" y="704850"/>
                  <a:pt x="1423630" y="713661"/>
                  <a:pt x="1428750" y="723900"/>
                </a:cubicBezTo>
                <a:cubicBezTo>
                  <a:pt x="1433240" y="732880"/>
                  <a:pt x="1431175" y="745375"/>
                  <a:pt x="1438275" y="752475"/>
                </a:cubicBezTo>
                <a:cubicBezTo>
                  <a:pt x="1475204" y="789404"/>
                  <a:pt x="1506094" y="794131"/>
                  <a:pt x="1552575" y="809625"/>
                </a:cubicBezTo>
                <a:lnTo>
                  <a:pt x="1581150" y="819150"/>
                </a:lnTo>
                <a:cubicBezTo>
                  <a:pt x="1590675" y="822325"/>
                  <a:pt x="1599985" y="826240"/>
                  <a:pt x="1609725" y="828675"/>
                </a:cubicBezTo>
                <a:cubicBezTo>
                  <a:pt x="1657565" y="840635"/>
                  <a:pt x="1635406" y="834060"/>
                  <a:pt x="1676400" y="847725"/>
                </a:cubicBezTo>
                <a:cubicBezTo>
                  <a:pt x="1702667" y="844442"/>
                  <a:pt x="1751809" y="843358"/>
                  <a:pt x="1781175" y="828675"/>
                </a:cubicBezTo>
                <a:cubicBezTo>
                  <a:pt x="1791414" y="823555"/>
                  <a:pt x="1800956" y="816954"/>
                  <a:pt x="1809750" y="809625"/>
                </a:cubicBezTo>
                <a:cubicBezTo>
                  <a:pt x="1820098" y="801001"/>
                  <a:pt x="1828800" y="790575"/>
                  <a:pt x="1838325" y="781050"/>
                </a:cubicBezTo>
                <a:cubicBezTo>
                  <a:pt x="1860973" y="713106"/>
                  <a:pt x="1828859" y="795249"/>
                  <a:pt x="1876425" y="723900"/>
                </a:cubicBezTo>
                <a:cubicBezTo>
                  <a:pt x="1881994" y="715546"/>
                  <a:pt x="1882775" y="704850"/>
                  <a:pt x="1885950" y="695325"/>
                </a:cubicBezTo>
                <a:cubicBezTo>
                  <a:pt x="1882775" y="644525"/>
                  <a:pt x="1883302" y="593357"/>
                  <a:pt x="1876425" y="542925"/>
                </a:cubicBezTo>
                <a:lnTo>
                  <a:pt x="1847850" y="457200"/>
                </a:lnTo>
                <a:lnTo>
                  <a:pt x="1809750" y="342900"/>
                </a:lnTo>
                <a:cubicBezTo>
                  <a:pt x="1802003" y="319659"/>
                  <a:pt x="1799639" y="304214"/>
                  <a:pt x="1781175" y="285750"/>
                </a:cubicBezTo>
                <a:cubicBezTo>
                  <a:pt x="1773080" y="277655"/>
                  <a:pt x="1762125" y="273050"/>
                  <a:pt x="1752600" y="266700"/>
                </a:cubicBezTo>
                <a:cubicBezTo>
                  <a:pt x="1749425" y="257175"/>
                  <a:pt x="1749347" y="245965"/>
                  <a:pt x="1743075" y="238125"/>
                </a:cubicBezTo>
                <a:cubicBezTo>
                  <a:pt x="1735924" y="229186"/>
                  <a:pt x="1723294" y="226404"/>
                  <a:pt x="1714500" y="219075"/>
                </a:cubicBezTo>
                <a:cubicBezTo>
                  <a:pt x="1624971" y="144468"/>
                  <a:pt x="1773218" y="248695"/>
                  <a:pt x="1628775" y="152400"/>
                </a:cubicBezTo>
                <a:lnTo>
                  <a:pt x="1600200" y="133350"/>
                </a:lnTo>
                <a:cubicBezTo>
                  <a:pt x="1590675" y="127000"/>
                  <a:pt x="1582485" y="117920"/>
                  <a:pt x="1571625" y="114300"/>
                </a:cubicBezTo>
                <a:cubicBezTo>
                  <a:pt x="1562100" y="111125"/>
                  <a:pt x="1552278" y="108730"/>
                  <a:pt x="1543050" y="104775"/>
                </a:cubicBezTo>
                <a:cubicBezTo>
                  <a:pt x="1498600" y="85725"/>
                  <a:pt x="1502001" y="77515"/>
                  <a:pt x="1447800" y="66675"/>
                </a:cubicBezTo>
                <a:cubicBezTo>
                  <a:pt x="1375074" y="52130"/>
                  <a:pt x="1416239" y="59158"/>
                  <a:pt x="1323975" y="47625"/>
                </a:cubicBezTo>
                <a:cubicBezTo>
                  <a:pt x="1272004" y="30301"/>
                  <a:pt x="1310030" y="41083"/>
                  <a:pt x="1228725" y="28575"/>
                </a:cubicBezTo>
                <a:cubicBezTo>
                  <a:pt x="1209637" y="25638"/>
                  <a:pt x="1190718" y="21602"/>
                  <a:pt x="1171575" y="19050"/>
                </a:cubicBezTo>
                <a:cubicBezTo>
                  <a:pt x="1094685" y="8798"/>
                  <a:pt x="1042554" y="6195"/>
                  <a:pt x="962025" y="0"/>
                </a:cubicBezTo>
                <a:lnTo>
                  <a:pt x="552450" y="9525"/>
                </a:lnTo>
                <a:cubicBezTo>
                  <a:pt x="533373" y="10288"/>
                  <a:pt x="481342" y="16504"/>
                  <a:pt x="457200" y="28575"/>
                </a:cubicBezTo>
                <a:cubicBezTo>
                  <a:pt x="446961" y="33695"/>
                  <a:pt x="439086" y="42976"/>
                  <a:pt x="428625" y="47625"/>
                </a:cubicBezTo>
                <a:cubicBezTo>
                  <a:pt x="410275" y="55780"/>
                  <a:pt x="388183" y="55536"/>
                  <a:pt x="371475" y="66675"/>
                </a:cubicBezTo>
                <a:cubicBezTo>
                  <a:pt x="361950" y="73025"/>
                  <a:pt x="353361" y="81076"/>
                  <a:pt x="342900" y="85725"/>
                </a:cubicBezTo>
                <a:cubicBezTo>
                  <a:pt x="324550" y="93880"/>
                  <a:pt x="304800" y="98425"/>
                  <a:pt x="285750" y="104775"/>
                </a:cubicBezTo>
                <a:cubicBezTo>
                  <a:pt x="276225" y="107950"/>
                  <a:pt x="265529" y="108731"/>
                  <a:pt x="257175" y="114300"/>
                </a:cubicBezTo>
                <a:cubicBezTo>
                  <a:pt x="220246" y="138919"/>
                  <a:pt x="239460" y="129730"/>
                  <a:pt x="200025" y="142875"/>
                </a:cubicBezTo>
                <a:cubicBezTo>
                  <a:pt x="190500" y="152400"/>
                  <a:pt x="181798" y="162826"/>
                  <a:pt x="171450" y="171450"/>
                </a:cubicBezTo>
                <a:cubicBezTo>
                  <a:pt x="162656" y="178779"/>
                  <a:pt x="148942" y="180792"/>
                  <a:pt x="142875" y="190500"/>
                </a:cubicBezTo>
                <a:cubicBezTo>
                  <a:pt x="94477" y="267937"/>
                  <a:pt x="119063" y="238125"/>
                  <a:pt x="114300" y="247650"/>
                </a:cubicBezTo>
                <a:close/>
              </a:path>
            </a:pathLst>
          </a:cu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4BADF767-4EEB-422E-81E5-38FBFA3E6F2A}"/>
              </a:ext>
            </a:extLst>
          </p:cNvPr>
          <p:cNvSpPr txBox="1"/>
          <p:nvPr/>
        </p:nvSpPr>
        <p:spPr>
          <a:xfrm>
            <a:off x="2275827" y="3157128"/>
            <a:ext cx="11037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i="1" dirty="0">
                <a:solidFill>
                  <a:srgbClr val="00B050"/>
                </a:solidFill>
              </a:rPr>
              <a:t>HUAT IC</a:t>
            </a:r>
            <a:endParaRPr lang="en-GB" b="1" i="1" dirty="0">
              <a:solidFill>
                <a:srgbClr val="00B050"/>
              </a:solidFill>
            </a:endParaRP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DA4E8E91-3934-4028-B09F-ABED198CED84}"/>
              </a:ext>
            </a:extLst>
          </p:cNvPr>
          <p:cNvSpPr txBox="1"/>
          <p:nvPr/>
        </p:nvSpPr>
        <p:spPr>
          <a:xfrm>
            <a:off x="4799656" y="2341556"/>
            <a:ext cx="15183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i="1" dirty="0">
                <a:solidFill>
                  <a:srgbClr val="FF0000"/>
                </a:solidFill>
              </a:rPr>
              <a:t>HUSKAT AA</a:t>
            </a:r>
            <a:endParaRPr lang="en-GB" b="1" i="1" dirty="0">
              <a:solidFill>
                <a:srgbClr val="FF0000"/>
              </a:solidFill>
            </a:endParaRPr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8030F0BB-69D5-4E26-9CF3-0C59F18EE188}"/>
              </a:ext>
            </a:extLst>
          </p:cNvPr>
          <p:cNvSpPr txBox="1"/>
          <p:nvPr/>
        </p:nvSpPr>
        <p:spPr>
          <a:xfrm>
            <a:off x="5541241" y="3710308"/>
            <a:ext cx="12618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i="1" dirty="0"/>
              <a:t>ROHU OS</a:t>
            </a:r>
            <a:endParaRPr lang="en-GB" b="1" i="1" dirty="0"/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42233D9A-BA80-4747-B5DC-9274EE912DD8}"/>
              </a:ext>
            </a:extLst>
          </p:cNvPr>
          <p:cNvSpPr/>
          <p:nvPr/>
        </p:nvSpPr>
        <p:spPr>
          <a:xfrm rot="19042264">
            <a:off x="3321445" y="2596331"/>
            <a:ext cx="358986" cy="939984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5" name="Pfeil nach rechts 29">
            <a:extLst>
              <a:ext uri="{FF2B5EF4-FFF2-40B4-BE49-F238E27FC236}">
                <a16:creationId xmlns:a16="http://schemas.microsoft.com/office/drawing/2014/main" id="{EE550800-3929-45A1-8DDD-BEFA1406B042}"/>
              </a:ext>
            </a:extLst>
          </p:cNvPr>
          <p:cNvSpPr/>
          <p:nvPr/>
        </p:nvSpPr>
        <p:spPr>
          <a:xfrm rot="13597462">
            <a:off x="3205934" y="2870045"/>
            <a:ext cx="246880" cy="64724"/>
          </a:xfrm>
          <a:prstGeom prst="rightArrow">
            <a:avLst/>
          </a:prstGeom>
          <a:solidFill>
            <a:schemeClr val="accent5">
              <a:lumMod val="25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12357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8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1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4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" grpId="0" animBg="1"/>
      <p:bldP spid="53" grpId="0" animBg="1"/>
      <p:bldP spid="54" grpId="0" animBg="1"/>
      <p:bldP spid="55" grpId="0" animBg="1"/>
      <p:bldP spid="58" grpId="0" animBg="1"/>
      <p:bldP spid="60" grpId="0" animBg="1"/>
      <p:bldP spid="61" grpId="0"/>
      <p:bldP spid="62" grpId="0"/>
      <p:bldP spid="64" grpId="0" animBg="1"/>
      <p:bldP spid="65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9281F1-29ED-4EF1-90D2-3BCF5C8C6D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i="1" dirty="0"/>
              <a:t>Capacity HUAT  (</a:t>
            </a:r>
            <a:r>
              <a:rPr lang="en-US" b="1" i="1" dirty="0" err="1"/>
              <a:t>Mosonmagyarovar</a:t>
            </a:r>
            <a:r>
              <a:rPr lang="en-US" b="1" i="1" dirty="0"/>
              <a:t>)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E50A154-7652-4AA6-8C06-FE583CC18AC7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7B14049-C3B2-4322-89CF-7BADDCD15D1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FAF49E7E-B089-43F4-99F1-7B2CBC9F37A9}"/>
              </a:ext>
            </a:extLst>
          </p:cNvPr>
          <p:cNvSpPr txBox="1">
            <a:spLocks/>
          </p:cNvSpPr>
          <p:nvPr/>
        </p:nvSpPr>
        <p:spPr>
          <a:xfrm>
            <a:off x="323847" y="1221590"/>
            <a:ext cx="8229600" cy="3637575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1pPr>
            <a:lvl2pPr marL="268288" indent="-268288" algn="l" defTabSz="914400" rtl="0" eaLnBrk="1" latinLnBrk="0" hangingPunct="1">
              <a:spcBef>
                <a:spcPts val="500"/>
              </a:spcBef>
              <a:buClr>
                <a:srgbClr val="0066A9"/>
              </a:buClr>
              <a:buFont typeface="Arial" panose="020B0604020202020204" pitchFamily="34" charset="0"/>
              <a:buChar char="&gt;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2pPr>
            <a:lvl3pPr marL="536575" indent="-268288" algn="l" defTabSz="914400" rtl="0" eaLnBrk="1" latinLnBrk="0" hangingPunct="1">
              <a:spcBef>
                <a:spcPts val="400"/>
              </a:spcBef>
              <a:buClr>
                <a:srgbClr val="0066A9"/>
              </a:buClr>
              <a:buFont typeface="Wingdings" panose="05000000000000000000" pitchFamily="2" charset="2"/>
              <a:buChar char="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3pPr>
            <a:lvl4pPr marL="720725" indent="-273050" algn="l" defTabSz="914400" rtl="0" eaLnBrk="1" latinLnBrk="0" hangingPunct="1">
              <a:spcBef>
                <a:spcPts val="4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u="sng" dirty="0"/>
              <a:t>Offer levels for bundled capacity:</a:t>
            </a:r>
          </a:p>
          <a:p>
            <a:endParaRPr lang="de-DE" dirty="0"/>
          </a:p>
          <a:p>
            <a:r>
              <a:rPr lang="en-US" b="1" u="sng" dirty="0"/>
              <a:t>Offer level 1</a:t>
            </a:r>
            <a:r>
              <a:rPr lang="en-US" dirty="0"/>
              <a:t>: </a:t>
            </a:r>
            <a:r>
              <a:rPr lang="en-US" b="1" dirty="0"/>
              <a:t>5,740,470 kWh/h   (as per ROHUAT)</a:t>
            </a:r>
            <a:endParaRPr lang="de-DE" b="1" dirty="0"/>
          </a:p>
          <a:p>
            <a:pPr lvl="2">
              <a:buFont typeface="Symbol" panose="05050102010706020507" pitchFamily="18" charset="2"/>
              <a:buChar char="-"/>
            </a:pPr>
            <a:r>
              <a:rPr lang="en-US" dirty="0"/>
              <a:t>Operational from </a:t>
            </a:r>
            <a:r>
              <a:rPr lang="en-US" b="1" dirty="0">
                <a:solidFill>
                  <a:srgbClr val="005C2A"/>
                </a:solidFill>
              </a:rPr>
              <a:t>2022</a:t>
            </a:r>
            <a:r>
              <a:rPr lang="en-US" dirty="0"/>
              <a:t> for Austria</a:t>
            </a:r>
          </a:p>
          <a:p>
            <a:pPr lvl="2">
              <a:buFont typeface="Symbol" panose="05050102010706020507" pitchFamily="18" charset="2"/>
              <a:buChar char="-"/>
            </a:pPr>
            <a:r>
              <a:rPr lang="en-US" dirty="0"/>
              <a:t>Operational from </a:t>
            </a:r>
            <a:r>
              <a:rPr lang="en-US" b="1" u="sng" dirty="0">
                <a:solidFill>
                  <a:srgbClr val="FF0000"/>
                </a:solidFill>
              </a:rPr>
              <a:t>2024</a:t>
            </a:r>
            <a:r>
              <a:rPr lang="en-US" dirty="0"/>
              <a:t> for Hungary</a:t>
            </a:r>
          </a:p>
          <a:p>
            <a:endParaRPr lang="en-US" b="1" dirty="0"/>
          </a:p>
          <a:p>
            <a:r>
              <a:rPr lang="en-US" b="1" u="sng" dirty="0"/>
              <a:t>Offer level 2</a:t>
            </a:r>
            <a:r>
              <a:rPr lang="en-US" dirty="0"/>
              <a:t>: </a:t>
            </a:r>
            <a:r>
              <a:rPr lang="en-US" b="1" dirty="0"/>
              <a:t>10,007,100 kWh/h</a:t>
            </a:r>
          </a:p>
          <a:p>
            <a:pPr lvl="2">
              <a:buFont typeface="Symbol" panose="05050102010706020507" pitchFamily="18" charset="2"/>
              <a:buChar char="-"/>
            </a:pPr>
            <a:r>
              <a:rPr lang="en-US" dirty="0"/>
              <a:t>Operational from </a:t>
            </a:r>
            <a:r>
              <a:rPr lang="en-US" b="1" dirty="0">
                <a:solidFill>
                  <a:srgbClr val="005C2A"/>
                </a:solidFill>
              </a:rPr>
              <a:t>2022</a:t>
            </a:r>
            <a:r>
              <a:rPr lang="en-US" dirty="0"/>
              <a:t> for Austria</a:t>
            </a:r>
          </a:p>
          <a:p>
            <a:pPr lvl="2">
              <a:buFont typeface="Symbol" panose="05050102010706020507" pitchFamily="18" charset="2"/>
              <a:buChar char="-"/>
            </a:pPr>
            <a:r>
              <a:rPr lang="en-US" dirty="0"/>
              <a:t>Operational from </a:t>
            </a:r>
            <a:r>
              <a:rPr lang="en-US" b="1" u="sng" dirty="0">
                <a:solidFill>
                  <a:srgbClr val="FF0000"/>
                </a:solidFill>
              </a:rPr>
              <a:t>2024</a:t>
            </a:r>
            <a:r>
              <a:rPr lang="en-US" dirty="0"/>
              <a:t> for Hungary</a:t>
            </a:r>
          </a:p>
          <a:p>
            <a:endParaRPr lang="de-DE" dirty="0"/>
          </a:p>
          <a:p>
            <a:pPr lvl="1"/>
            <a:r>
              <a:rPr lang="en-US" dirty="0"/>
              <a:t>10% of technical capacity has already been deducted for short-term allocation.</a:t>
            </a:r>
            <a:endParaRPr lang="de-DE" dirty="0"/>
          </a:p>
          <a:p>
            <a:pPr lvl="1"/>
            <a:r>
              <a:rPr lang="en-US" dirty="0"/>
              <a:t>Offer levels will start in separate auctions (competing projects).</a:t>
            </a:r>
            <a:endParaRPr lang="de-DE" dirty="0"/>
          </a:p>
          <a:p>
            <a:endParaRPr lang="de-DE" dirty="0"/>
          </a:p>
        </p:txBody>
      </p:sp>
      <p:sp>
        <p:nvSpPr>
          <p:cNvPr id="9" name="Foliennummernplatzhalter 3">
            <a:extLst>
              <a:ext uri="{FF2B5EF4-FFF2-40B4-BE49-F238E27FC236}">
                <a16:creationId xmlns:a16="http://schemas.microsoft.com/office/drawing/2014/main" id="{5273E61F-29CD-41DA-B610-5997783134E4}"/>
              </a:ext>
            </a:extLst>
          </p:cNvPr>
          <p:cNvSpPr txBox="1">
            <a:spLocks/>
          </p:cNvSpPr>
          <p:nvPr/>
        </p:nvSpPr>
        <p:spPr>
          <a:xfrm>
            <a:off x="7355632" y="6136655"/>
            <a:ext cx="2133600" cy="4762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600" i="1" kern="1200" baseline="0">
                <a:solidFill>
                  <a:schemeClr val="bg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1pPr>
            <a:lvl2pPr marL="268288" indent="-268288" algn="l" defTabSz="914400" rtl="0" eaLnBrk="1" latinLnBrk="0" hangingPunct="1">
              <a:spcBef>
                <a:spcPts val="500"/>
              </a:spcBef>
              <a:buClr>
                <a:srgbClr val="0066A9"/>
              </a:buClr>
              <a:buFont typeface="Arial" panose="020B0604020202020204" pitchFamily="34" charset="0"/>
              <a:buChar char="&gt;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2pPr>
            <a:lvl3pPr marL="536575" indent="-268288" algn="l" defTabSz="914400" rtl="0" eaLnBrk="1" latinLnBrk="0" hangingPunct="1">
              <a:spcBef>
                <a:spcPts val="400"/>
              </a:spcBef>
              <a:buClr>
                <a:srgbClr val="0066A9"/>
              </a:buClr>
              <a:buFont typeface="Wingdings" panose="05000000000000000000" pitchFamily="2" charset="2"/>
              <a:buChar char="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3pPr>
            <a:lvl4pPr marL="720725" indent="-273050" algn="l" defTabSz="914400" rtl="0" eaLnBrk="1" latinLnBrk="0" hangingPunct="1">
              <a:spcBef>
                <a:spcPts val="4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38FDFA3-F5B0-4BC3-9E09-D644D952F017}" type="slidenum">
              <a:rPr lang="de-DE" altLang="de-DE" smtClean="0"/>
              <a:pPr/>
              <a:t>12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91083972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1F2B3BC-4097-4F58-8320-DB21C2A11E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Tariffs overview HUAT  offer level 1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BA2B88D-3B29-429A-BBFC-6CA54C3B9830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(in local currency) status 06.04.2018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19614B4-EBE1-489E-8AEB-139D7E221D6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8" name="Foliennummernplatzhalter 3">
            <a:extLst>
              <a:ext uri="{FF2B5EF4-FFF2-40B4-BE49-F238E27FC236}">
                <a16:creationId xmlns:a16="http://schemas.microsoft.com/office/drawing/2014/main" id="{A30B3793-72CD-474A-A7E9-324D2F5553B2}"/>
              </a:ext>
            </a:extLst>
          </p:cNvPr>
          <p:cNvSpPr txBox="1">
            <a:spLocks/>
          </p:cNvSpPr>
          <p:nvPr/>
        </p:nvSpPr>
        <p:spPr>
          <a:xfrm>
            <a:off x="7550968" y="5034885"/>
            <a:ext cx="2133600" cy="4762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600" i="1" kern="1200" baseline="0">
                <a:solidFill>
                  <a:schemeClr val="bg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1pPr>
            <a:lvl2pPr marL="268288" indent="-268288" algn="l" defTabSz="914400" rtl="0" eaLnBrk="1" latinLnBrk="0" hangingPunct="1">
              <a:spcBef>
                <a:spcPts val="500"/>
              </a:spcBef>
              <a:buClr>
                <a:srgbClr val="0066A9"/>
              </a:buClr>
              <a:buFont typeface="Arial" panose="020B0604020202020204" pitchFamily="34" charset="0"/>
              <a:buChar char="&gt;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2pPr>
            <a:lvl3pPr marL="536575" indent="-268288" algn="l" defTabSz="914400" rtl="0" eaLnBrk="1" latinLnBrk="0" hangingPunct="1">
              <a:spcBef>
                <a:spcPts val="400"/>
              </a:spcBef>
              <a:buClr>
                <a:srgbClr val="0066A9"/>
              </a:buClr>
              <a:buFont typeface="Wingdings" panose="05000000000000000000" pitchFamily="2" charset="2"/>
              <a:buChar char="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3pPr>
            <a:lvl4pPr marL="720725" indent="-273050" algn="l" defTabSz="914400" rtl="0" eaLnBrk="1" latinLnBrk="0" hangingPunct="1">
              <a:spcBef>
                <a:spcPts val="4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38FDFA3-F5B0-4BC3-9E09-D644D952F017}" type="slidenum">
              <a:rPr lang="de-DE" altLang="de-DE" smtClean="0"/>
              <a:pPr/>
              <a:t>13</a:t>
            </a:fld>
            <a:endParaRPr lang="de-DE" altLang="de-DE" dirty="0"/>
          </a:p>
        </p:txBody>
      </p:sp>
      <p:grpSp>
        <p:nvGrpSpPr>
          <p:cNvPr id="9" name="Gruppierung 1">
            <a:extLst>
              <a:ext uri="{FF2B5EF4-FFF2-40B4-BE49-F238E27FC236}">
                <a16:creationId xmlns:a16="http://schemas.microsoft.com/office/drawing/2014/main" id="{FEF37321-9D36-4CE1-BF5A-DC858A3BADBF}"/>
              </a:ext>
            </a:extLst>
          </p:cNvPr>
          <p:cNvGrpSpPr/>
          <p:nvPr/>
        </p:nvGrpSpPr>
        <p:grpSpPr>
          <a:xfrm>
            <a:off x="-577394" y="1080301"/>
            <a:ext cx="10097113" cy="4241412"/>
            <a:chOff x="4992688" y="4651375"/>
            <a:chExt cx="1290637" cy="449263"/>
          </a:xfrm>
        </p:grpSpPr>
        <p:sp>
          <p:nvSpPr>
            <p:cNvPr id="10" name="Freeform 26">
              <a:extLst>
                <a:ext uri="{FF2B5EF4-FFF2-40B4-BE49-F238E27FC236}">
                  <a16:creationId xmlns:a16="http://schemas.microsoft.com/office/drawing/2014/main" id="{938238EF-8331-4AA8-B69F-F0F03C879AFD}"/>
                </a:ext>
              </a:extLst>
            </p:cNvPr>
            <p:cNvSpPr>
              <a:spLocks/>
            </p:cNvSpPr>
            <p:nvPr/>
          </p:nvSpPr>
          <p:spPr bwMode="gray">
            <a:xfrm>
              <a:off x="4992688" y="4651375"/>
              <a:ext cx="500062" cy="228600"/>
            </a:xfrm>
            <a:custGeom>
              <a:avLst/>
              <a:gdLst>
                <a:gd name="T0" fmla="*/ 31 w 302"/>
                <a:gd name="T1" fmla="*/ 209 h 148"/>
                <a:gd name="T2" fmla="*/ 48 w 302"/>
                <a:gd name="T3" fmla="*/ 207 h 148"/>
                <a:gd name="T4" fmla="*/ 70 w 302"/>
                <a:gd name="T5" fmla="*/ 215 h 148"/>
                <a:gd name="T6" fmla="*/ 86 w 302"/>
                <a:gd name="T7" fmla="*/ 229 h 148"/>
                <a:gd name="T8" fmla="*/ 100 w 302"/>
                <a:gd name="T9" fmla="*/ 244 h 148"/>
                <a:gd name="T10" fmla="*/ 138 w 302"/>
                <a:gd name="T11" fmla="*/ 224 h 148"/>
                <a:gd name="T12" fmla="*/ 155 w 302"/>
                <a:gd name="T13" fmla="*/ 207 h 148"/>
                <a:gd name="T14" fmla="*/ 198 w 302"/>
                <a:gd name="T15" fmla="*/ 209 h 148"/>
                <a:gd name="T16" fmla="*/ 217 w 302"/>
                <a:gd name="T17" fmla="*/ 229 h 148"/>
                <a:gd name="T18" fmla="*/ 275 w 302"/>
                <a:gd name="T19" fmla="*/ 220 h 148"/>
                <a:gd name="T20" fmla="*/ 303 w 302"/>
                <a:gd name="T21" fmla="*/ 209 h 148"/>
                <a:gd name="T22" fmla="*/ 392 w 302"/>
                <a:gd name="T23" fmla="*/ 198 h 148"/>
                <a:gd name="T24" fmla="*/ 429 w 302"/>
                <a:gd name="T25" fmla="*/ 184 h 148"/>
                <a:gd name="T26" fmla="*/ 477 w 302"/>
                <a:gd name="T27" fmla="*/ 189 h 148"/>
                <a:gd name="T28" fmla="*/ 486 w 302"/>
                <a:gd name="T29" fmla="*/ 207 h 148"/>
                <a:gd name="T30" fmla="*/ 523 w 302"/>
                <a:gd name="T31" fmla="*/ 215 h 148"/>
                <a:gd name="T32" fmla="*/ 523 w 302"/>
                <a:gd name="T33" fmla="*/ 184 h 148"/>
                <a:gd name="T34" fmla="*/ 516 w 302"/>
                <a:gd name="T35" fmla="*/ 164 h 148"/>
                <a:gd name="T36" fmla="*/ 499 w 302"/>
                <a:gd name="T37" fmla="*/ 106 h 148"/>
                <a:gd name="T38" fmla="*/ 577 w 302"/>
                <a:gd name="T39" fmla="*/ 76 h 148"/>
                <a:gd name="T40" fmla="*/ 593 w 302"/>
                <a:gd name="T41" fmla="*/ 50 h 148"/>
                <a:gd name="T42" fmla="*/ 661 w 302"/>
                <a:gd name="T43" fmla="*/ 47 h 148"/>
                <a:gd name="T44" fmla="*/ 700 w 302"/>
                <a:gd name="T45" fmla="*/ 56 h 148"/>
                <a:gd name="T46" fmla="*/ 770 w 302"/>
                <a:gd name="T47" fmla="*/ 50 h 148"/>
                <a:gd name="T48" fmla="*/ 905 w 302"/>
                <a:gd name="T49" fmla="*/ 21 h 148"/>
                <a:gd name="T50" fmla="*/ 1070 w 302"/>
                <a:gd name="T51" fmla="*/ 26 h 148"/>
                <a:gd name="T52" fmla="*/ 1106 w 302"/>
                <a:gd name="T53" fmla="*/ 47 h 148"/>
                <a:gd name="T54" fmla="*/ 1100 w 302"/>
                <a:gd name="T55" fmla="*/ 91 h 148"/>
                <a:gd name="T56" fmla="*/ 1160 w 302"/>
                <a:gd name="T57" fmla="*/ 143 h 148"/>
                <a:gd name="T58" fmla="*/ 1121 w 302"/>
                <a:gd name="T59" fmla="*/ 189 h 148"/>
                <a:gd name="T60" fmla="*/ 1060 w 302"/>
                <a:gd name="T61" fmla="*/ 184 h 148"/>
                <a:gd name="T62" fmla="*/ 1023 w 302"/>
                <a:gd name="T63" fmla="*/ 195 h 148"/>
                <a:gd name="T64" fmla="*/ 1060 w 302"/>
                <a:gd name="T65" fmla="*/ 209 h 148"/>
                <a:gd name="T66" fmla="*/ 1028 w 302"/>
                <a:gd name="T67" fmla="*/ 229 h 148"/>
                <a:gd name="T68" fmla="*/ 1038 w 302"/>
                <a:gd name="T69" fmla="*/ 267 h 148"/>
                <a:gd name="T70" fmla="*/ 1008 w 302"/>
                <a:gd name="T71" fmla="*/ 306 h 148"/>
                <a:gd name="T72" fmla="*/ 964 w 302"/>
                <a:gd name="T73" fmla="*/ 334 h 148"/>
                <a:gd name="T74" fmla="*/ 884 w 302"/>
                <a:gd name="T75" fmla="*/ 347 h 148"/>
                <a:gd name="T76" fmla="*/ 792 w 302"/>
                <a:gd name="T77" fmla="*/ 347 h 148"/>
                <a:gd name="T78" fmla="*/ 732 w 302"/>
                <a:gd name="T79" fmla="*/ 366 h 148"/>
                <a:gd name="T80" fmla="*/ 675 w 302"/>
                <a:gd name="T81" fmla="*/ 362 h 148"/>
                <a:gd name="T82" fmla="*/ 577 w 302"/>
                <a:gd name="T83" fmla="*/ 351 h 148"/>
                <a:gd name="T84" fmla="*/ 429 w 302"/>
                <a:gd name="T85" fmla="*/ 332 h 148"/>
                <a:gd name="T86" fmla="*/ 382 w 302"/>
                <a:gd name="T87" fmla="*/ 297 h 148"/>
                <a:gd name="T88" fmla="*/ 332 w 302"/>
                <a:gd name="T89" fmla="*/ 290 h 148"/>
                <a:gd name="T90" fmla="*/ 275 w 302"/>
                <a:gd name="T91" fmla="*/ 290 h 148"/>
                <a:gd name="T92" fmla="*/ 244 w 302"/>
                <a:gd name="T93" fmla="*/ 290 h 148"/>
                <a:gd name="T94" fmla="*/ 185 w 302"/>
                <a:gd name="T95" fmla="*/ 316 h 148"/>
                <a:gd name="T96" fmla="*/ 138 w 302"/>
                <a:gd name="T97" fmla="*/ 290 h 148"/>
                <a:gd name="T98" fmla="*/ 94 w 302"/>
                <a:gd name="T99" fmla="*/ 306 h 148"/>
                <a:gd name="T100" fmla="*/ 56 w 302"/>
                <a:gd name="T101" fmla="*/ 283 h 148"/>
                <a:gd name="T102" fmla="*/ 16 w 302"/>
                <a:gd name="T103" fmla="*/ 267 h 148"/>
                <a:gd name="T104" fmla="*/ 16 w 302"/>
                <a:gd name="T105" fmla="*/ 229 h 148"/>
                <a:gd name="T106" fmla="*/ 10 w 302"/>
                <a:gd name="T107" fmla="*/ 207 h 1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02"/>
                <a:gd name="T163" fmla="*/ 0 h 148"/>
                <a:gd name="T164" fmla="*/ 302 w 302"/>
                <a:gd name="T165" fmla="*/ 148 h 14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02" h="148">
                  <a:moveTo>
                    <a:pt x="2" y="80"/>
                  </a:moveTo>
                  <a:lnTo>
                    <a:pt x="8" y="82"/>
                  </a:lnTo>
                  <a:lnTo>
                    <a:pt x="12" y="78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8" y="84"/>
                  </a:lnTo>
                  <a:lnTo>
                    <a:pt x="22" y="86"/>
                  </a:lnTo>
                  <a:lnTo>
                    <a:pt x="22" y="90"/>
                  </a:lnTo>
                  <a:lnTo>
                    <a:pt x="26" y="90"/>
                  </a:lnTo>
                  <a:lnTo>
                    <a:pt x="26" y="96"/>
                  </a:lnTo>
                  <a:lnTo>
                    <a:pt x="28" y="96"/>
                  </a:lnTo>
                  <a:lnTo>
                    <a:pt x="36" y="88"/>
                  </a:lnTo>
                  <a:lnTo>
                    <a:pt x="36" y="80"/>
                  </a:lnTo>
                  <a:lnTo>
                    <a:pt x="40" y="80"/>
                  </a:lnTo>
                  <a:lnTo>
                    <a:pt x="44" y="80"/>
                  </a:lnTo>
                  <a:lnTo>
                    <a:pt x="52" y="82"/>
                  </a:lnTo>
                  <a:lnTo>
                    <a:pt x="54" y="86"/>
                  </a:lnTo>
                  <a:lnTo>
                    <a:pt x="56" y="90"/>
                  </a:lnTo>
                  <a:lnTo>
                    <a:pt x="66" y="90"/>
                  </a:lnTo>
                  <a:lnTo>
                    <a:pt x="72" y="86"/>
                  </a:lnTo>
                  <a:lnTo>
                    <a:pt x="74" y="82"/>
                  </a:lnTo>
                  <a:lnTo>
                    <a:pt x="78" y="82"/>
                  </a:lnTo>
                  <a:lnTo>
                    <a:pt x="80" y="78"/>
                  </a:lnTo>
                  <a:lnTo>
                    <a:pt x="102" y="78"/>
                  </a:lnTo>
                  <a:lnTo>
                    <a:pt x="104" y="72"/>
                  </a:lnTo>
                  <a:lnTo>
                    <a:pt x="112" y="72"/>
                  </a:lnTo>
                  <a:lnTo>
                    <a:pt x="114" y="76"/>
                  </a:lnTo>
                  <a:lnTo>
                    <a:pt x="124" y="74"/>
                  </a:lnTo>
                  <a:lnTo>
                    <a:pt x="128" y="76"/>
                  </a:lnTo>
                  <a:lnTo>
                    <a:pt x="126" y="80"/>
                  </a:lnTo>
                  <a:lnTo>
                    <a:pt x="134" y="86"/>
                  </a:lnTo>
                  <a:lnTo>
                    <a:pt x="136" y="84"/>
                  </a:lnTo>
                  <a:lnTo>
                    <a:pt x="136" y="76"/>
                  </a:lnTo>
                  <a:lnTo>
                    <a:pt x="136" y="72"/>
                  </a:lnTo>
                  <a:lnTo>
                    <a:pt x="130" y="70"/>
                  </a:lnTo>
                  <a:lnTo>
                    <a:pt x="134" y="64"/>
                  </a:lnTo>
                  <a:lnTo>
                    <a:pt x="124" y="48"/>
                  </a:lnTo>
                  <a:lnTo>
                    <a:pt x="130" y="42"/>
                  </a:lnTo>
                  <a:lnTo>
                    <a:pt x="148" y="34"/>
                  </a:lnTo>
                  <a:lnTo>
                    <a:pt x="150" y="30"/>
                  </a:lnTo>
                  <a:lnTo>
                    <a:pt x="150" y="22"/>
                  </a:lnTo>
                  <a:lnTo>
                    <a:pt x="154" y="20"/>
                  </a:lnTo>
                  <a:lnTo>
                    <a:pt x="160" y="26"/>
                  </a:lnTo>
                  <a:lnTo>
                    <a:pt x="172" y="18"/>
                  </a:lnTo>
                  <a:lnTo>
                    <a:pt x="174" y="18"/>
                  </a:lnTo>
                  <a:lnTo>
                    <a:pt x="182" y="22"/>
                  </a:lnTo>
                  <a:lnTo>
                    <a:pt x="190" y="24"/>
                  </a:lnTo>
                  <a:lnTo>
                    <a:pt x="200" y="20"/>
                  </a:lnTo>
                  <a:lnTo>
                    <a:pt x="212" y="0"/>
                  </a:lnTo>
                  <a:lnTo>
                    <a:pt x="236" y="8"/>
                  </a:lnTo>
                  <a:lnTo>
                    <a:pt x="254" y="14"/>
                  </a:lnTo>
                  <a:lnTo>
                    <a:pt x="278" y="10"/>
                  </a:lnTo>
                  <a:lnTo>
                    <a:pt x="286" y="16"/>
                  </a:lnTo>
                  <a:lnTo>
                    <a:pt x="288" y="18"/>
                  </a:lnTo>
                  <a:lnTo>
                    <a:pt x="288" y="20"/>
                  </a:lnTo>
                  <a:lnTo>
                    <a:pt x="286" y="36"/>
                  </a:lnTo>
                  <a:lnTo>
                    <a:pt x="290" y="42"/>
                  </a:lnTo>
                  <a:lnTo>
                    <a:pt x="302" y="56"/>
                  </a:lnTo>
                  <a:lnTo>
                    <a:pt x="292" y="64"/>
                  </a:lnTo>
                  <a:lnTo>
                    <a:pt x="292" y="74"/>
                  </a:lnTo>
                  <a:lnTo>
                    <a:pt x="280" y="74"/>
                  </a:lnTo>
                  <a:lnTo>
                    <a:pt x="276" y="72"/>
                  </a:lnTo>
                  <a:lnTo>
                    <a:pt x="270" y="72"/>
                  </a:lnTo>
                  <a:lnTo>
                    <a:pt x="266" y="76"/>
                  </a:lnTo>
                  <a:lnTo>
                    <a:pt x="274" y="78"/>
                  </a:lnTo>
                  <a:lnTo>
                    <a:pt x="276" y="82"/>
                  </a:lnTo>
                  <a:lnTo>
                    <a:pt x="274" y="88"/>
                  </a:lnTo>
                  <a:lnTo>
                    <a:pt x="268" y="90"/>
                  </a:lnTo>
                  <a:lnTo>
                    <a:pt x="266" y="100"/>
                  </a:lnTo>
                  <a:lnTo>
                    <a:pt x="270" y="104"/>
                  </a:lnTo>
                  <a:lnTo>
                    <a:pt x="268" y="112"/>
                  </a:lnTo>
                  <a:lnTo>
                    <a:pt x="262" y="120"/>
                  </a:lnTo>
                  <a:lnTo>
                    <a:pt x="250" y="124"/>
                  </a:lnTo>
                  <a:lnTo>
                    <a:pt x="250" y="132"/>
                  </a:lnTo>
                  <a:lnTo>
                    <a:pt x="236" y="130"/>
                  </a:lnTo>
                  <a:lnTo>
                    <a:pt x="230" y="136"/>
                  </a:lnTo>
                  <a:lnTo>
                    <a:pt x="216" y="132"/>
                  </a:lnTo>
                  <a:lnTo>
                    <a:pt x="206" y="136"/>
                  </a:lnTo>
                  <a:lnTo>
                    <a:pt x="194" y="148"/>
                  </a:lnTo>
                  <a:lnTo>
                    <a:pt x="190" y="144"/>
                  </a:lnTo>
                  <a:lnTo>
                    <a:pt x="180" y="144"/>
                  </a:lnTo>
                  <a:lnTo>
                    <a:pt x="176" y="142"/>
                  </a:lnTo>
                  <a:lnTo>
                    <a:pt x="158" y="140"/>
                  </a:lnTo>
                  <a:lnTo>
                    <a:pt x="150" y="138"/>
                  </a:lnTo>
                  <a:lnTo>
                    <a:pt x="134" y="136"/>
                  </a:lnTo>
                  <a:lnTo>
                    <a:pt x="112" y="130"/>
                  </a:lnTo>
                  <a:lnTo>
                    <a:pt x="106" y="120"/>
                  </a:lnTo>
                  <a:lnTo>
                    <a:pt x="100" y="116"/>
                  </a:lnTo>
                  <a:lnTo>
                    <a:pt x="100" y="108"/>
                  </a:lnTo>
                  <a:lnTo>
                    <a:pt x="86" y="114"/>
                  </a:lnTo>
                  <a:lnTo>
                    <a:pt x="80" y="110"/>
                  </a:lnTo>
                  <a:lnTo>
                    <a:pt x="72" y="114"/>
                  </a:lnTo>
                  <a:lnTo>
                    <a:pt x="70" y="112"/>
                  </a:lnTo>
                  <a:lnTo>
                    <a:pt x="64" y="114"/>
                  </a:lnTo>
                  <a:lnTo>
                    <a:pt x="58" y="124"/>
                  </a:lnTo>
                  <a:lnTo>
                    <a:pt x="48" y="124"/>
                  </a:lnTo>
                  <a:lnTo>
                    <a:pt x="36" y="120"/>
                  </a:lnTo>
                  <a:lnTo>
                    <a:pt x="36" y="114"/>
                  </a:lnTo>
                  <a:lnTo>
                    <a:pt x="34" y="112"/>
                  </a:lnTo>
                  <a:lnTo>
                    <a:pt x="24" y="120"/>
                  </a:lnTo>
                  <a:lnTo>
                    <a:pt x="14" y="114"/>
                  </a:lnTo>
                  <a:lnTo>
                    <a:pt x="14" y="110"/>
                  </a:lnTo>
                  <a:lnTo>
                    <a:pt x="2" y="108"/>
                  </a:lnTo>
                  <a:lnTo>
                    <a:pt x="4" y="104"/>
                  </a:lnTo>
                  <a:lnTo>
                    <a:pt x="0" y="96"/>
                  </a:lnTo>
                  <a:lnTo>
                    <a:pt x="4" y="90"/>
                  </a:lnTo>
                  <a:lnTo>
                    <a:pt x="2" y="80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1" name="Freeform 29">
              <a:extLst>
                <a:ext uri="{FF2B5EF4-FFF2-40B4-BE49-F238E27FC236}">
                  <a16:creationId xmlns:a16="http://schemas.microsoft.com/office/drawing/2014/main" id="{41130A31-464B-425F-8918-7E99831F151E}"/>
                </a:ext>
              </a:extLst>
            </p:cNvPr>
            <p:cNvSpPr>
              <a:spLocks/>
            </p:cNvSpPr>
            <p:nvPr/>
          </p:nvSpPr>
          <p:spPr bwMode="gray">
            <a:xfrm>
              <a:off x="5424488" y="4686300"/>
              <a:ext cx="433387" cy="247650"/>
            </a:xfrm>
            <a:custGeom>
              <a:avLst/>
              <a:gdLst>
                <a:gd name="T0" fmla="*/ 387 w 260"/>
                <a:gd name="T1" fmla="*/ 388 h 160"/>
                <a:gd name="T2" fmla="*/ 350 w 260"/>
                <a:gd name="T3" fmla="*/ 403 h 160"/>
                <a:gd name="T4" fmla="*/ 318 w 260"/>
                <a:gd name="T5" fmla="*/ 403 h 160"/>
                <a:gd name="T6" fmla="*/ 270 w 260"/>
                <a:gd name="T7" fmla="*/ 408 h 160"/>
                <a:gd name="T8" fmla="*/ 231 w 260"/>
                <a:gd name="T9" fmla="*/ 403 h 160"/>
                <a:gd name="T10" fmla="*/ 157 w 260"/>
                <a:gd name="T11" fmla="*/ 358 h 160"/>
                <a:gd name="T12" fmla="*/ 57 w 260"/>
                <a:gd name="T13" fmla="*/ 321 h 160"/>
                <a:gd name="T14" fmla="*/ 39 w 260"/>
                <a:gd name="T15" fmla="*/ 306 h 160"/>
                <a:gd name="T16" fmla="*/ 16 w 260"/>
                <a:gd name="T17" fmla="*/ 285 h 160"/>
                <a:gd name="T18" fmla="*/ 0 w 260"/>
                <a:gd name="T19" fmla="*/ 250 h 160"/>
                <a:gd name="T20" fmla="*/ 25 w 260"/>
                <a:gd name="T21" fmla="*/ 229 h 160"/>
                <a:gd name="T22" fmla="*/ 31 w 260"/>
                <a:gd name="T23" fmla="*/ 209 h 160"/>
                <a:gd name="T24" fmla="*/ 16 w 260"/>
                <a:gd name="T25" fmla="*/ 198 h 160"/>
                <a:gd name="T26" fmla="*/ 25 w 260"/>
                <a:gd name="T27" fmla="*/ 172 h 160"/>
                <a:gd name="T28" fmla="*/ 48 w 260"/>
                <a:gd name="T29" fmla="*/ 168 h 160"/>
                <a:gd name="T30" fmla="*/ 57 w 260"/>
                <a:gd name="T31" fmla="*/ 153 h 160"/>
                <a:gd name="T32" fmla="*/ 48 w 260"/>
                <a:gd name="T33" fmla="*/ 143 h 160"/>
                <a:gd name="T34" fmla="*/ 16 w 260"/>
                <a:gd name="T35" fmla="*/ 138 h 160"/>
                <a:gd name="T36" fmla="*/ 31 w 260"/>
                <a:gd name="T37" fmla="*/ 126 h 160"/>
                <a:gd name="T38" fmla="*/ 57 w 260"/>
                <a:gd name="T39" fmla="*/ 126 h 160"/>
                <a:gd name="T40" fmla="*/ 72 w 260"/>
                <a:gd name="T41" fmla="*/ 132 h 160"/>
                <a:gd name="T42" fmla="*/ 118 w 260"/>
                <a:gd name="T43" fmla="*/ 132 h 160"/>
                <a:gd name="T44" fmla="*/ 118 w 260"/>
                <a:gd name="T45" fmla="*/ 106 h 160"/>
                <a:gd name="T46" fmla="*/ 157 w 260"/>
                <a:gd name="T47" fmla="*/ 88 h 160"/>
                <a:gd name="T48" fmla="*/ 172 w 260"/>
                <a:gd name="T49" fmla="*/ 76 h 160"/>
                <a:gd name="T50" fmla="*/ 206 w 260"/>
                <a:gd name="T51" fmla="*/ 88 h 160"/>
                <a:gd name="T52" fmla="*/ 245 w 260"/>
                <a:gd name="T53" fmla="*/ 103 h 160"/>
                <a:gd name="T54" fmla="*/ 278 w 260"/>
                <a:gd name="T55" fmla="*/ 103 h 160"/>
                <a:gd name="T56" fmla="*/ 387 w 260"/>
                <a:gd name="T57" fmla="*/ 106 h 160"/>
                <a:gd name="T58" fmla="*/ 415 w 260"/>
                <a:gd name="T59" fmla="*/ 65 h 160"/>
                <a:gd name="T60" fmla="*/ 428 w 260"/>
                <a:gd name="T61" fmla="*/ 65 h 160"/>
                <a:gd name="T62" fmla="*/ 479 w 260"/>
                <a:gd name="T63" fmla="*/ 56 h 160"/>
                <a:gd name="T64" fmla="*/ 516 w 260"/>
                <a:gd name="T65" fmla="*/ 56 h 160"/>
                <a:gd name="T66" fmla="*/ 553 w 260"/>
                <a:gd name="T67" fmla="*/ 56 h 160"/>
                <a:gd name="T68" fmla="*/ 585 w 260"/>
                <a:gd name="T69" fmla="*/ 56 h 160"/>
                <a:gd name="T70" fmla="*/ 658 w 260"/>
                <a:gd name="T71" fmla="*/ 2 h 160"/>
                <a:gd name="T72" fmla="*/ 706 w 260"/>
                <a:gd name="T73" fmla="*/ 0 h 160"/>
                <a:gd name="T74" fmla="*/ 779 w 260"/>
                <a:gd name="T75" fmla="*/ 0 h 160"/>
                <a:gd name="T76" fmla="*/ 816 w 260"/>
                <a:gd name="T77" fmla="*/ 21 h 160"/>
                <a:gd name="T78" fmla="*/ 841 w 260"/>
                <a:gd name="T79" fmla="*/ 30 h 160"/>
                <a:gd name="T80" fmla="*/ 888 w 260"/>
                <a:gd name="T81" fmla="*/ 26 h 160"/>
                <a:gd name="T82" fmla="*/ 894 w 260"/>
                <a:gd name="T83" fmla="*/ 26 h 160"/>
                <a:gd name="T84" fmla="*/ 941 w 260"/>
                <a:gd name="T85" fmla="*/ 47 h 160"/>
                <a:gd name="T86" fmla="*/ 981 w 260"/>
                <a:gd name="T87" fmla="*/ 63 h 160"/>
                <a:gd name="T88" fmla="*/ 1028 w 260"/>
                <a:gd name="T89" fmla="*/ 88 h 160"/>
                <a:gd name="T90" fmla="*/ 999 w 260"/>
                <a:gd name="T91" fmla="*/ 106 h 160"/>
                <a:gd name="T92" fmla="*/ 919 w 260"/>
                <a:gd name="T93" fmla="*/ 122 h 160"/>
                <a:gd name="T94" fmla="*/ 878 w 260"/>
                <a:gd name="T95" fmla="*/ 153 h 160"/>
                <a:gd name="T96" fmla="*/ 816 w 260"/>
                <a:gd name="T97" fmla="*/ 244 h 160"/>
                <a:gd name="T98" fmla="*/ 767 w 260"/>
                <a:gd name="T99" fmla="*/ 300 h 160"/>
                <a:gd name="T100" fmla="*/ 719 w 260"/>
                <a:gd name="T101" fmla="*/ 334 h 160"/>
                <a:gd name="T102" fmla="*/ 696 w 260"/>
                <a:gd name="T103" fmla="*/ 347 h 160"/>
                <a:gd name="T104" fmla="*/ 643 w 260"/>
                <a:gd name="T105" fmla="*/ 347 h 160"/>
                <a:gd name="T106" fmla="*/ 625 w 260"/>
                <a:gd name="T107" fmla="*/ 358 h 160"/>
                <a:gd name="T108" fmla="*/ 610 w 260"/>
                <a:gd name="T109" fmla="*/ 358 h 160"/>
                <a:gd name="T110" fmla="*/ 553 w 260"/>
                <a:gd name="T111" fmla="*/ 351 h 160"/>
                <a:gd name="T112" fmla="*/ 492 w 260"/>
                <a:gd name="T113" fmla="*/ 358 h 160"/>
                <a:gd name="T114" fmla="*/ 387 w 260"/>
                <a:gd name="T115" fmla="*/ 388 h 160"/>
                <a:gd name="T116" fmla="*/ 387 w 260"/>
                <a:gd name="T117" fmla="*/ 388 h 16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60"/>
                <a:gd name="T178" fmla="*/ 0 h 160"/>
                <a:gd name="T179" fmla="*/ 260 w 260"/>
                <a:gd name="T180" fmla="*/ 160 h 16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60" h="160">
                  <a:moveTo>
                    <a:pt x="98" y="152"/>
                  </a:moveTo>
                  <a:lnTo>
                    <a:pt x="88" y="158"/>
                  </a:lnTo>
                  <a:lnTo>
                    <a:pt x="80" y="158"/>
                  </a:lnTo>
                  <a:lnTo>
                    <a:pt x="68" y="160"/>
                  </a:lnTo>
                  <a:lnTo>
                    <a:pt x="58" y="158"/>
                  </a:lnTo>
                  <a:lnTo>
                    <a:pt x="40" y="140"/>
                  </a:lnTo>
                  <a:lnTo>
                    <a:pt x="14" y="126"/>
                  </a:lnTo>
                  <a:lnTo>
                    <a:pt x="10" y="120"/>
                  </a:lnTo>
                  <a:lnTo>
                    <a:pt x="4" y="112"/>
                  </a:lnTo>
                  <a:lnTo>
                    <a:pt x="0" y="98"/>
                  </a:lnTo>
                  <a:lnTo>
                    <a:pt x="6" y="90"/>
                  </a:lnTo>
                  <a:lnTo>
                    <a:pt x="8" y="82"/>
                  </a:lnTo>
                  <a:lnTo>
                    <a:pt x="4" y="78"/>
                  </a:lnTo>
                  <a:lnTo>
                    <a:pt x="6" y="68"/>
                  </a:lnTo>
                  <a:lnTo>
                    <a:pt x="12" y="66"/>
                  </a:lnTo>
                  <a:lnTo>
                    <a:pt x="14" y="60"/>
                  </a:lnTo>
                  <a:lnTo>
                    <a:pt x="12" y="56"/>
                  </a:lnTo>
                  <a:lnTo>
                    <a:pt x="4" y="54"/>
                  </a:lnTo>
                  <a:lnTo>
                    <a:pt x="8" y="50"/>
                  </a:lnTo>
                  <a:lnTo>
                    <a:pt x="14" y="50"/>
                  </a:lnTo>
                  <a:lnTo>
                    <a:pt x="18" y="52"/>
                  </a:lnTo>
                  <a:lnTo>
                    <a:pt x="30" y="52"/>
                  </a:lnTo>
                  <a:lnTo>
                    <a:pt x="30" y="42"/>
                  </a:lnTo>
                  <a:lnTo>
                    <a:pt x="40" y="34"/>
                  </a:lnTo>
                  <a:lnTo>
                    <a:pt x="44" y="30"/>
                  </a:lnTo>
                  <a:lnTo>
                    <a:pt x="52" y="34"/>
                  </a:lnTo>
                  <a:lnTo>
                    <a:pt x="62" y="40"/>
                  </a:lnTo>
                  <a:lnTo>
                    <a:pt x="70" y="40"/>
                  </a:lnTo>
                  <a:lnTo>
                    <a:pt x="98" y="42"/>
                  </a:lnTo>
                  <a:lnTo>
                    <a:pt x="104" y="26"/>
                  </a:lnTo>
                  <a:lnTo>
                    <a:pt x="108" y="26"/>
                  </a:lnTo>
                  <a:lnTo>
                    <a:pt x="122" y="22"/>
                  </a:lnTo>
                  <a:lnTo>
                    <a:pt x="130" y="22"/>
                  </a:lnTo>
                  <a:lnTo>
                    <a:pt x="140" y="22"/>
                  </a:lnTo>
                  <a:lnTo>
                    <a:pt x="148" y="22"/>
                  </a:lnTo>
                  <a:lnTo>
                    <a:pt x="166" y="2"/>
                  </a:lnTo>
                  <a:lnTo>
                    <a:pt x="178" y="0"/>
                  </a:lnTo>
                  <a:lnTo>
                    <a:pt x="196" y="0"/>
                  </a:lnTo>
                  <a:lnTo>
                    <a:pt x="206" y="8"/>
                  </a:lnTo>
                  <a:lnTo>
                    <a:pt x="212" y="12"/>
                  </a:lnTo>
                  <a:lnTo>
                    <a:pt x="224" y="10"/>
                  </a:lnTo>
                  <a:lnTo>
                    <a:pt x="226" y="10"/>
                  </a:lnTo>
                  <a:lnTo>
                    <a:pt x="238" y="18"/>
                  </a:lnTo>
                  <a:lnTo>
                    <a:pt x="248" y="24"/>
                  </a:lnTo>
                  <a:lnTo>
                    <a:pt x="260" y="34"/>
                  </a:lnTo>
                  <a:lnTo>
                    <a:pt x="252" y="42"/>
                  </a:lnTo>
                  <a:lnTo>
                    <a:pt x="232" y="48"/>
                  </a:lnTo>
                  <a:lnTo>
                    <a:pt x="222" y="60"/>
                  </a:lnTo>
                  <a:lnTo>
                    <a:pt x="206" y="96"/>
                  </a:lnTo>
                  <a:lnTo>
                    <a:pt x="194" y="118"/>
                  </a:lnTo>
                  <a:lnTo>
                    <a:pt x="182" y="132"/>
                  </a:lnTo>
                  <a:lnTo>
                    <a:pt x="176" y="136"/>
                  </a:lnTo>
                  <a:lnTo>
                    <a:pt x="162" y="136"/>
                  </a:lnTo>
                  <a:lnTo>
                    <a:pt x="158" y="140"/>
                  </a:lnTo>
                  <a:lnTo>
                    <a:pt x="154" y="140"/>
                  </a:lnTo>
                  <a:lnTo>
                    <a:pt x="140" y="138"/>
                  </a:lnTo>
                  <a:lnTo>
                    <a:pt x="124" y="140"/>
                  </a:lnTo>
                  <a:lnTo>
                    <a:pt x="98" y="152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1E1B2F03-A57B-44AA-8E22-8E74DCB50222}"/>
                </a:ext>
              </a:extLst>
            </p:cNvPr>
            <p:cNvSpPr>
              <a:spLocks/>
            </p:cNvSpPr>
            <p:nvPr/>
          </p:nvSpPr>
          <p:spPr bwMode="gray">
            <a:xfrm>
              <a:off x="5683250" y="4713288"/>
              <a:ext cx="600075" cy="387350"/>
            </a:xfrm>
            <a:custGeom>
              <a:avLst/>
              <a:gdLst>
                <a:gd name="T0" fmla="*/ 16 w 362"/>
                <a:gd name="T1" fmla="*/ 318 h 250"/>
                <a:gd name="T2" fmla="*/ 86 w 362"/>
                <a:gd name="T3" fmla="*/ 306 h 250"/>
                <a:gd name="T4" fmla="*/ 155 w 362"/>
                <a:gd name="T5" fmla="*/ 260 h 250"/>
                <a:gd name="T6" fmla="*/ 260 w 362"/>
                <a:gd name="T7" fmla="*/ 109 h 250"/>
                <a:gd name="T8" fmla="*/ 379 w 362"/>
                <a:gd name="T9" fmla="*/ 63 h 250"/>
                <a:gd name="T10" fmla="*/ 413 w 362"/>
                <a:gd name="T11" fmla="*/ 35 h 250"/>
                <a:gd name="T12" fmla="*/ 486 w 362"/>
                <a:gd name="T13" fmla="*/ 35 h 250"/>
                <a:gd name="T14" fmla="*/ 623 w 362"/>
                <a:gd name="T15" fmla="*/ 53 h 250"/>
                <a:gd name="T16" fmla="*/ 646 w 362"/>
                <a:gd name="T17" fmla="*/ 66 h 250"/>
                <a:gd name="T18" fmla="*/ 673 w 362"/>
                <a:gd name="T19" fmla="*/ 77 h 250"/>
                <a:gd name="T20" fmla="*/ 716 w 362"/>
                <a:gd name="T21" fmla="*/ 66 h 250"/>
                <a:gd name="T22" fmla="*/ 858 w 362"/>
                <a:gd name="T23" fmla="*/ 41 h 250"/>
                <a:gd name="T24" fmla="*/ 890 w 362"/>
                <a:gd name="T25" fmla="*/ 2 h 250"/>
                <a:gd name="T26" fmla="*/ 945 w 362"/>
                <a:gd name="T27" fmla="*/ 0 h 250"/>
                <a:gd name="T28" fmla="*/ 1036 w 362"/>
                <a:gd name="T29" fmla="*/ 93 h 250"/>
                <a:gd name="T30" fmla="*/ 1151 w 362"/>
                <a:gd name="T31" fmla="*/ 185 h 250"/>
                <a:gd name="T32" fmla="*/ 1169 w 362"/>
                <a:gd name="T33" fmla="*/ 265 h 250"/>
                <a:gd name="T34" fmla="*/ 1160 w 362"/>
                <a:gd name="T35" fmla="*/ 368 h 250"/>
                <a:gd name="T36" fmla="*/ 1145 w 362"/>
                <a:gd name="T37" fmla="*/ 388 h 250"/>
                <a:gd name="T38" fmla="*/ 1169 w 362"/>
                <a:gd name="T39" fmla="*/ 409 h 250"/>
                <a:gd name="T40" fmla="*/ 1175 w 362"/>
                <a:gd name="T41" fmla="*/ 409 h 250"/>
                <a:gd name="T42" fmla="*/ 1210 w 362"/>
                <a:gd name="T43" fmla="*/ 437 h 250"/>
                <a:gd name="T44" fmla="*/ 1253 w 362"/>
                <a:gd name="T45" fmla="*/ 424 h 250"/>
                <a:gd name="T46" fmla="*/ 1328 w 362"/>
                <a:gd name="T47" fmla="*/ 409 h 250"/>
                <a:gd name="T48" fmla="*/ 1382 w 362"/>
                <a:gd name="T49" fmla="*/ 421 h 250"/>
                <a:gd name="T50" fmla="*/ 1365 w 362"/>
                <a:gd name="T51" fmla="*/ 465 h 250"/>
                <a:gd name="T52" fmla="*/ 1319 w 362"/>
                <a:gd name="T53" fmla="*/ 493 h 250"/>
                <a:gd name="T54" fmla="*/ 1271 w 362"/>
                <a:gd name="T55" fmla="*/ 509 h 250"/>
                <a:gd name="T56" fmla="*/ 1221 w 362"/>
                <a:gd name="T57" fmla="*/ 586 h 250"/>
                <a:gd name="T58" fmla="*/ 1210 w 362"/>
                <a:gd name="T59" fmla="*/ 647 h 250"/>
                <a:gd name="T60" fmla="*/ 1074 w 362"/>
                <a:gd name="T61" fmla="*/ 621 h 250"/>
                <a:gd name="T62" fmla="*/ 1022 w 362"/>
                <a:gd name="T63" fmla="*/ 606 h 250"/>
                <a:gd name="T64" fmla="*/ 945 w 362"/>
                <a:gd name="T65" fmla="*/ 581 h 250"/>
                <a:gd name="T66" fmla="*/ 778 w 362"/>
                <a:gd name="T67" fmla="*/ 645 h 250"/>
                <a:gd name="T68" fmla="*/ 661 w 362"/>
                <a:gd name="T69" fmla="*/ 621 h 250"/>
                <a:gd name="T70" fmla="*/ 593 w 362"/>
                <a:gd name="T71" fmla="*/ 638 h 250"/>
                <a:gd name="T72" fmla="*/ 491 w 362"/>
                <a:gd name="T73" fmla="*/ 616 h 250"/>
                <a:gd name="T74" fmla="*/ 407 w 362"/>
                <a:gd name="T75" fmla="*/ 628 h 250"/>
                <a:gd name="T76" fmla="*/ 392 w 362"/>
                <a:gd name="T77" fmla="*/ 616 h 250"/>
                <a:gd name="T78" fmla="*/ 382 w 362"/>
                <a:gd name="T79" fmla="*/ 591 h 250"/>
                <a:gd name="T80" fmla="*/ 322 w 362"/>
                <a:gd name="T81" fmla="*/ 564 h 250"/>
                <a:gd name="T82" fmla="*/ 338 w 362"/>
                <a:gd name="T83" fmla="*/ 533 h 250"/>
                <a:gd name="T84" fmla="*/ 353 w 362"/>
                <a:gd name="T85" fmla="*/ 527 h 250"/>
                <a:gd name="T86" fmla="*/ 303 w 362"/>
                <a:gd name="T87" fmla="*/ 517 h 250"/>
                <a:gd name="T88" fmla="*/ 275 w 362"/>
                <a:gd name="T89" fmla="*/ 544 h 250"/>
                <a:gd name="T90" fmla="*/ 232 w 362"/>
                <a:gd name="T91" fmla="*/ 517 h 250"/>
                <a:gd name="T92" fmla="*/ 194 w 362"/>
                <a:gd name="T93" fmla="*/ 503 h 250"/>
                <a:gd name="T94" fmla="*/ 163 w 362"/>
                <a:gd name="T95" fmla="*/ 503 h 250"/>
                <a:gd name="T96" fmla="*/ 169 w 362"/>
                <a:gd name="T97" fmla="*/ 486 h 250"/>
                <a:gd name="T98" fmla="*/ 169 w 362"/>
                <a:gd name="T99" fmla="*/ 478 h 250"/>
                <a:gd name="T100" fmla="*/ 169 w 362"/>
                <a:gd name="T101" fmla="*/ 462 h 250"/>
                <a:gd name="T102" fmla="*/ 179 w 362"/>
                <a:gd name="T103" fmla="*/ 448 h 250"/>
                <a:gd name="T104" fmla="*/ 118 w 362"/>
                <a:gd name="T105" fmla="*/ 431 h 250"/>
                <a:gd name="T106" fmla="*/ 76 w 362"/>
                <a:gd name="T107" fmla="*/ 394 h 250"/>
                <a:gd name="T108" fmla="*/ 70 w 362"/>
                <a:gd name="T109" fmla="*/ 362 h 250"/>
                <a:gd name="T110" fmla="*/ 48 w 362"/>
                <a:gd name="T111" fmla="*/ 348 h 250"/>
                <a:gd name="T112" fmla="*/ 0 w 362"/>
                <a:gd name="T113" fmla="*/ 318 h 25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62"/>
                <a:gd name="T172" fmla="*/ 0 h 250"/>
                <a:gd name="T173" fmla="*/ 362 w 362"/>
                <a:gd name="T174" fmla="*/ 250 h 25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62" h="250">
                  <a:moveTo>
                    <a:pt x="0" y="122"/>
                  </a:moveTo>
                  <a:lnTo>
                    <a:pt x="4" y="122"/>
                  </a:lnTo>
                  <a:lnTo>
                    <a:pt x="8" y="118"/>
                  </a:lnTo>
                  <a:lnTo>
                    <a:pt x="22" y="118"/>
                  </a:lnTo>
                  <a:lnTo>
                    <a:pt x="28" y="114"/>
                  </a:lnTo>
                  <a:lnTo>
                    <a:pt x="40" y="100"/>
                  </a:lnTo>
                  <a:lnTo>
                    <a:pt x="52" y="78"/>
                  </a:lnTo>
                  <a:lnTo>
                    <a:pt x="68" y="42"/>
                  </a:lnTo>
                  <a:lnTo>
                    <a:pt x="78" y="30"/>
                  </a:lnTo>
                  <a:lnTo>
                    <a:pt x="98" y="24"/>
                  </a:lnTo>
                  <a:lnTo>
                    <a:pt x="106" y="16"/>
                  </a:lnTo>
                  <a:lnTo>
                    <a:pt x="108" y="14"/>
                  </a:lnTo>
                  <a:lnTo>
                    <a:pt x="120" y="16"/>
                  </a:lnTo>
                  <a:lnTo>
                    <a:pt x="126" y="14"/>
                  </a:lnTo>
                  <a:lnTo>
                    <a:pt x="142" y="18"/>
                  </a:lnTo>
                  <a:lnTo>
                    <a:pt x="162" y="20"/>
                  </a:lnTo>
                  <a:lnTo>
                    <a:pt x="168" y="18"/>
                  </a:lnTo>
                  <a:lnTo>
                    <a:pt x="168" y="26"/>
                  </a:lnTo>
                  <a:lnTo>
                    <a:pt x="174" y="26"/>
                  </a:lnTo>
                  <a:lnTo>
                    <a:pt x="176" y="30"/>
                  </a:lnTo>
                  <a:lnTo>
                    <a:pt x="182" y="30"/>
                  </a:lnTo>
                  <a:lnTo>
                    <a:pt x="186" y="26"/>
                  </a:lnTo>
                  <a:lnTo>
                    <a:pt x="190" y="20"/>
                  </a:lnTo>
                  <a:lnTo>
                    <a:pt x="224" y="16"/>
                  </a:lnTo>
                  <a:lnTo>
                    <a:pt x="230" y="12"/>
                  </a:lnTo>
                  <a:lnTo>
                    <a:pt x="232" y="2"/>
                  </a:lnTo>
                  <a:lnTo>
                    <a:pt x="242" y="2"/>
                  </a:lnTo>
                  <a:lnTo>
                    <a:pt x="246" y="0"/>
                  </a:lnTo>
                  <a:lnTo>
                    <a:pt x="258" y="4"/>
                  </a:lnTo>
                  <a:lnTo>
                    <a:pt x="270" y="36"/>
                  </a:lnTo>
                  <a:lnTo>
                    <a:pt x="288" y="64"/>
                  </a:lnTo>
                  <a:lnTo>
                    <a:pt x="300" y="72"/>
                  </a:lnTo>
                  <a:lnTo>
                    <a:pt x="306" y="92"/>
                  </a:lnTo>
                  <a:lnTo>
                    <a:pt x="304" y="102"/>
                  </a:lnTo>
                  <a:lnTo>
                    <a:pt x="300" y="128"/>
                  </a:lnTo>
                  <a:lnTo>
                    <a:pt x="302" y="142"/>
                  </a:lnTo>
                  <a:lnTo>
                    <a:pt x="302" y="148"/>
                  </a:lnTo>
                  <a:lnTo>
                    <a:pt x="298" y="150"/>
                  </a:lnTo>
                  <a:lnTo>
                    <a:pt x="302" y="152"/>
                  </a:lnTo>
                  <a:lnTo>
                    <a:pt x="304" y="158"/>
                  </a:lnTo>
                  <a:lnTo>
                    <a:pt x="306" y="158"/>
                  </a:lnTo>
                  <a:lnTo>
                    <a:pt x="308" y="164"/>
                  </a:lnTo>
                  <a:lnTo>
                    <a:pt x="316" y="168"/>
                  </a:lnTo>
                  <a:lnTo>
                    <a:pt x="326" y="170"/>
                  </a:lnTo>
                  <a:lnTo>
                    <a:pt x="326" y="164"/>
                  </a:lnTo>
                  <a:lnTo>
                    <a:pt x="334" y="164"/>
                  </a:lnTo>
                  <a:lnTo>
                    <a:pt x="346" y="158"/>
                  </a:lnTo>
                  <a:lnTo>
                    <a:pt x="358" y="160"/>
                  </a:lnTo>
                  <a:lnTo>
                    <a:pt x="360" y="162"/>
                  </a:lnTo>
                  <a:lnTo>
                    <a:pt x="362" y="170"/>
                  </a:lnTo>
                  <a:lnTo>
                    <a:pt x="356" y="180"/>
                  </a:lnTo>
                  <a:lnTo>
                    <a:pt x="352" y="188"/>
                  </a:lnTo>
                  <a:lnTo>
                    <a:pt x="344" y="190"/>
                  </a:lnTo>
                  <a:lnTo>
                    <a:pt x="338" y="190"/>
                  </a:lnTo>
                  <a:lnTo>
                    <a:pt x="332" y="196"/>
                  </a:lnTo>
                  <a:lnTo>
                    <a:pt x="322" y="210"/>
                  </a:lnTo>
                  <a:lnTo>
                    <a:pt x="318" y="226"/>
                  </a:lnTo>
                  <a:lnTo>
                    <a:pt x="316" y="246"/>
                  </a:lnTo>
                  <a:lnTo>
                    <a:pt x="316" y="250"/>
                  </a:lnTo>
                  <a:lnTo>
                    <a:pt x="304" y="248"/>
                  </a:lnTo>
                  <a:lnTo>
                    <a:pt x="280" y="240"/>
                  </a:lnTo>
                  <a:lnTo>
                    <a:pt x="272" y="234"/>
                  </a:lnTo>
                  <a:lnTo>
                    <a:pt x="266" y="234"/>
                  </a:lnTo>
                  <a:lnTo>
                    <a:pt x="256" y="224"/>
                  </a:lnTo>
                  <a:lnTo>
                    <a:pt x="246" y="224"/>
                  </a:lnTo>
                  <a:lnTo>
                    <a:pt x="234" y="230"/>
                  </a:lnTo>
                  <a:lnTo>
                    <a:pt x="202" y="248"/>
                  </a:lnTo>
                  <a:lnTo>
                    <a:pt x="196" y="248"/>
                  </a:lnTo>
                  <a:lnTo>
                    <a:pt x="172" y="240"/>
                  </a:lnTo>
                  <a:lnTo>
                    <a:pt x="166" y="240"/>
                  </a:lnTo>
                  <a:lnTo>
                    <a:pt x="154" y="246"/>
                  </a:lnTo>
                  <a:lnTo>
                    <a:pt x="148" y="248"/>
                  </a:lnTo>
                  <a:lnTo>
                    <a:pt x="128" y="238"/>
                  </a:lnTo>
                  <a:lnTo>
                    <a:pt x="120" y="238"/>
                  </a:lnTo>
                  <a:lnTo>
                    <a:pt x="106" y="242"/>
                  </a:lnTo>
                  <a:lnTo>
                    <a:pt x="102" y="242"/>
                  </a:lnTo>
                  <a:lnTo>
                    <a:pt x="102" y="238"/>
                  </a:lnTo>
                  <a:lnTo>
                    <a:pt x="106" y="230"/>
                  </a:lnTo>
                  <a:lnTo>
                    <a:pt x="100" y="228"/>
                  </a:lnTo>
                  <a:lnTo>
                    <a:pt x="92" y="224"/>
                  </a:lnTo>
                  <a:lnTo>
                    <a:pt x="84" y="218"/>
                  </a:lnTo>
                  <a:lnTo>
                    <a:pt x="82" y="210"/>
                  </a:lnTo>
                  <a:lnTo>
                    <a:pt x="88" y="206"/>
                  </a:lnTo>
                  <a:lnTo>
                    <a:pt x="94" y="206"/>
                  </a:lnTo>
                  <a:lnTo>
                    <a:pt x="92" y="204"/>
                  </a:lnTo>
                  <a:lnTo>
                    <a:pt x="82" y="196"/>
                  </a:lnTo>
                  <a:lnTo>
                    <a:pt x="78" y="200"/>
                  </a:lnTo>
                  <a:lnTo>
                    <a:pt x="74" y="206"/>
                  </a:lnTo>
                  <a:lnTo>
                    <a:pt x="72" y="210"/>
                  </a:lnTo>
                  <a:lnTo>
                    <a:pt x="64" y="204"/>
                  </a:lnTo>
                  <a:lnTo>
                    <a:pt x="60" y="200"/>
                  </a:lnTo>
                  <a:lnTo>
                    <a:pt x="50" y="200"/>
                  </a:lnTo>
                  <a:lnTo>
                    <a:pt x="50" y="194"/>
                  </a:lnTo>
                  <a:lnTo>
                    <a:pt x="46" y="194"/>
                  </a:lnTo>
                  <a:lnTo>
                    <a:pt x="42" y="194"/>
                  </a:lnTo>
                  <a:lnTo>
                    <a:pt x="40" y="190"/>
                  </a:lnTo>
                  <a:lnTo>
                    <a:pt x="44" y="188"/>
                  </a:lnTo>
                  <a:lnTo>
                    <a:pt x="48" y="186"/>
                  </a:lnTo>
                  <a:lnTo>
                    <a:pt x="44" y="184"/>
                  </a:lnTo>
                  <a:lnTo>
                    <a:pt x="40" y="182"/>
                  </a:lnTo>
                  <a:lnTo>
                    <a:pt x="44" y="178"/>
                  </a:lnTo>
                  <a:lnTo>
                    <a:pt x="46" y="176"/>
                  </a:lnTo>
                  <a:lnTo>
                    <a:pt x="46" y="172"/>
                  </a:lnTo>
                  <a:lnTo>
                    <a:pt x="40" y="170"/>
                  </a:lnTo>
                  <a:lnTo>
                    <a:pt x="30" y="166"/>
                  </a:lnTo>
                  <a:lnTo>
                    <a:pt x="18" y="154"/>
                  </a:lnTo>
                  <a:lnTo>
                    <a:pt x="20" y="152"/>
                  </a:lnTo>
                  <a:lnTo>
                    <a:pt x="18" y="148"/>
                  </a:lnTo>
                  <a:lnTo>
                    <a:pt x="18" y="140"/>
                  </a:lnTo>
                  <a:lnTo>
                    <a:pt x="14" y="140"/>
                  </a:lnTo>
                  <a:lnTo>
                    <a:pt x="12" y="134"/>
                  </a:lnTo>
                  <a:lnTo>
                    <a:pt x="2" y="130"/>
                  </a:lnTo>
                  <a:lnTo>
                    <a:pt x="0" y="122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C4116DC1-0C17-404B-B2FA-5C648A2DC0C6}"/>
              </a:ext>
            </a:extLst>
          </p:cNvPr>
          <p:cNvCxnSpPr/>
          <p:nvPr/>
        </p:nvCxnSpPr>
        <p:spPr>
          <a:xfrm flipH="1" flipV="1">
            <a:off x="3228173" y="1978409"/>
            <a:ext cx="208663" cy="216024"/>
          </a:xfrm>
          <a:prstGeom prst="straightConnector1">
            <a:avLst/>
          </a:prstGeom>
          <a:ln w="28575">
            <a:solidFill>
              <a:srgbClr val="0066A9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E535AE8B-8042-4E9C-A669-6C53FA3207A9}"/>
              </a:ext>
            </a:extLst>
          </p:cNvPr>
          <p:cNvCxnSpPr/>
          <p:nvPr/>
        </p:nvCxnSpPr>
        <p:spPr>
          <a:xfrm flipH="1" flipV="1">
            <a:off x="2970638" y="1722877"/>
            <a:ext cx="208663" cy="216024"/>
          </a:xfrm>
          <a:prstGeom prst="straightConnector1">
            <a:avLst/>
          </a:prstGeom>
          <a:ln w="28575">
            <a:solidFill>
              <a:srgbClr val="0066A9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4">
            <a:extLst>
              <a:ext uri="{FF2B5EF4-FFF2-40B4-BE49-F238E27FC236}">
                <a16:creationId xmlns:a16="http://schemas.microsoft.com/office/drawing/2014/main" id="{9DBD9C1B-E6CA-4B11-A32D-9AA7988F81DA}"/>
              </a:ext>
            </a:extLst>
          </p:cNvPr>
          <p:cNvSpPr txBox="1"/>
          <p:nvPr/>
        </p:nvSpPr>
        <p:spPr>
          <a:xfrm>
            <a:off x="3490022" y="2165015"/>
            <a:ext cx="1233030" cy="70788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de-DE" sz="1000" b="1" i="1" dirty="0"/>
              <a:t>Exit</a:t>
            </a:r>
          </a:p>
          <a:p>
            <a:r>
              <a:rPr lang="de-DE" sz="1000" b="1" dirty="0"/>
              <a:t>  </a:t>
            </a:r>
            <a:r>
              <a:rPr lang="de-DE" sz="1000" b="1" dirty="0">
                <a:solidFill>
                  <a:srgbClr val="0066AA"/>
                </a:solidFill>
              </a:rPr>
              <a:t>631,25 HUF/kWh/h/y</a:t>
            </a:r>
          </a:p>
          <a:p>
            <a:r>
              <a:rPr lang="de-DE" sz="1000" b="1" dirty="0">
                <a:solidFill>
                  <a:srgbClr val="FF0000"/>
                </a:solidFill>
              </a:rPr>
              <a:t>8607,69 HUF/kWh/h/y</a:t>
            </a:r>
          </a:p>
          <a:p>
            <a:r>
              <a:rPr lang="de-DE" sz="1000" b="1" dirty="0">
                <a:solidFill>
                  <a:srgbClr val="005C2A"/>
                </a:solidFill>
              </a:rPr>
              <a:t>?? %</a:t>
            </a:r>
            <a:endParaRPr lang="en-GB" sz="1000" b="1" dirty="0">
              <a:solidFill>
                <a:srgbClr val="005C2A"/>
              </a:solidFill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C801515D-0F44-46C3-A2E1-0EB2FD9B6FF6}"/>
              </a:ext>
            </a:extLst>
          </p:cNvPr>
          <p:cNvSpPr txBox="1"/>
          <p:nvPr/>
        </p:nvSpPr>
        <p:spPr>
          <a:xfrm>
            <a:off x="3193297" y="3780612"/>
            <a:ext cx="114486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</a:rPr>
              <a:t>98,72 HUF/MWh</a:t>
            </a:r>
            <a:endParaRPr lang="en-GB" sz="1000" b="1" dirty="0">
              <a:solidFill>
                <a:schemeClr val="bg1"/>
              </a:solidFill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269AB97E-FF57-4026-B22F-48E7EE227432}"/>
              </a:ext>
            </a:extLst>
          </p:cNvPr>
          <p:cNvSpPr txBox="1"/>
          <p:nvPr/>
        </p:nvSpPr>
        <p:spPr>
          <a:xfrm>
            <a:off x="2016105" y="1407057"/>
            <a:ext cx="902811" cy="70788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de-DE" sz="1000" b="1" i="1" dirty="0"/>
              <a:t>Entry</a:t>
            </a:r>
          </a:p>
          <a:p>
            <a:r>
              <a:rPr lang="de-DE" sz="1000" b="1" dirty="0">
                <a:solidFill>
                  <a:srgbClr val="0066AA"/>
                </a:solidFill>
              </a:rPr>
              <a:t>0,77 €/kWh/h/y</a:t>
            </a:r>
          </a:p>
          <a:p>
            <a:r>
              <a:rPr lang="de-DE" sz="1000" b="1" dirty="0">
                <a:solidFill>
                  <a:srgbClr val="FF0000"/>
                </a:solidFill>
              </a:rPr>
              <a:t>1,40 €/kWh/h/y</a:t>
            </a:r>
          </a:p>
          <a:p>
            <a:r>
              <a:rPr lang="de-DE" sz="1000" b="1" dirty="0">
                <a:solidFill>
                  <a:srgbClr val="005C2A"/>
                </a:solidFill>
              </a:rPr>
              <a:t>33 %</a:t>
            </a:r>
            <a:endParaRPr lang="en-GB" sz="1000" b="1" dirty="0">
              <a:solidFill>
                <a:srgbClr val="005C2A"/>
              </a:solidFill>
            </a:endParaRPr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08A4DB46-25E1-49AC-A0F3-A33B5CFD3072}"/>
              </a:ext>
            </a:extLst>
          </p:cNvPr>
          <p:cNvSpPr/>
          <p:nvPr/>
        </p:nvSpPr>
        <p:spPr>
          <a:xfrm>
            <a:off x="3186776" y="1930628"/>
            <a:ext cx="45719" cy="45719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000"/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0440766B-7CC6-4E2F-A851-E68F3C103636}"/>
              </a:ext>
            </a:extLst>
          </p:cNvPr>
          <p:cNvSpPr/>
          <p:nvPr/>
        </p:nvSpPr>
        <p:spPr>
          <a:xfrm>
            <a:off x="5152425" y="3308176"/>
            <a:ext cx="46038" cy="46038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000"/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7BEC1004-C4D0-4F0C-87E9-074A4C8A1827}"/>
              </a:ext>
            </a:extLst>
          </p:cNvPr>
          <p:cNvSpPr/>
          <p:nvPr/>
        </p:nvSpPr>
        <p:spPr>
          <a:xfrm>
            <a:off x="8902824" y="4826046"/>
            <a:ext cx="46038" cy="46038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000"/>
          </a:p>
        </p:txBody>
      </p:sp>
      <p:pic>
        <p:nvPicPr>
          <p:cNvPr id="21" name="Picture 2">
            <a:extLst>
              <a:ext uri="{FF2B5EF4-FFF2-40B4-BE49-F238E27FC236}">
                <a16:creationId xmlns:a16="http://schemas.microsoft.com/office/drawing/2014/main" id="{4FF4BDD6-8225-4DED-BE65-3FF2517CB0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4533" y="1658128"/>
            <a:ext cx="413712" cy="277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2">
            <a:extLst>
              <a:ext uri="{FF2B5EF4-FFF2-40B4-BE49-F238E27FC236}">
                <a16:creationId xmlns:a16="http://schemas.microsoft.com/office/drawing/2014/main" id="{A130D82B-77FC-4ADC-AB76-B303425111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4183" y="1763750"/>
            <a:ext cx="554679" cy="2784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4" descr="Bildergebnis für romania flag">
            <a:extLst>
              <a:ext uri="{FF2B5EF4-FFF2-40B4-BE49-F238E27FC236}">
                <a16:creationId xmlns:a16="http://schemas.microsoft.com/office/drawing/2014/main" id="{6F5BE3EB-3611-45AE-918B-A2843E3DF3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7183" y="3780612"/>
            <a:ext cx="504056" cy="336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Inhaltsplatzhalter 55">
            <a:extLst>
              <a:ext uri="{FF2B5EF4-FFF2-40B4-BE49-F238E27FC236}">
                <a16:creationId xmlns:a16="http://schemas.microsoft.com/office/drawing/2014/main" id="{06B45BF1-BD7D-4530-B3C7-CC7AC74375C8}"/>
              </a:ext>
            </a:extLst>
          </p:cNvPr>
          <p:cNvSpPr txBox="1">
            <a:spLocks/>
          </p:cNvSpPr>
          <p:nvPr/>
        </p:nvSpPr>
        <p:spPr>
          <a:xfrm>
            <a:off x="597063" y="3905159"/>
            <a:ext cx="2670924" cy="6822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1pPr>
            <a:lvl2pPr marL="268288" indent="-268288" algn="l" defTabSz="914400" rtl="0" eaLnBrk="1" latinLnBrk="0" hangingPunct="1">
              <a:spcBef>
                <a:spcPts val="500"/>
              </a:spcBef>
              <a:buClr>
                <a:srgbClr val="0066A9"/>
              </a:buClr>
              <a:buFont typeface="Arial" panose="020B0604020202020204" pitchFamily="34" charset="0"/>
              <a:buChar char="&gt;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2pPr>
            <a:lvl3pPr marL="536575" indent="-268288" algn="l" defTabSz="914400" rtl="0" eaLnBrk="1" latinLnBrk="0" hangingPunct="1">
              <a:spcBef>
                <a:spcPts val="400"/>
              </a:spcBef>
              <a:buClr>
                <a:srgbClr val="0066A9"/>
              </a:buClr>
              <a:buFont typeface="Wingdings" panose="05000000000000000000" pitchFamily="2" charset="2"/>
              <a:buChar char="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3pPr>
            <a:lvl4pPr marL="720725" indent="-273050" algn="l" defTabSz="914400" rtl="0" eaLnBrk="1" latinLnBrk="0" hangingPunct="1">
              <a:spcBef>
                <a:spcPts val="4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 dirty="0">
                <a:solidFill>
                  <a:schemeClr val="accent1"/>
                </a:solidFill>
              </a:rPr>
              <a:t>Reserve price</a:t>
            </a:r>
          </a:p>
          <a:p>
            <a:r>
              <a:rPr lang="en-US" sz="1000" b="1" dirty="0">
                <a:solidFill>
                  <a:srgbClr val="FF0000"/>
                </a:solidFill>
              </a:rPr>
              <a:t>Minimum Premium</a:t>
            </a:r>
          </a:p>
          <a:p>
            <a:r>
              <a:rPr lang="en-US" sz="1000" b="1" dirty="0">
                <a:solidFill>
                  <a:srgbClr val="005C2A"/>
                </a:solidFill>
              </a:rPr>
              <a:t>Minimum booked incremental capacity threshold  </a:t>
            </a:r>
          </a:p>
        </p:txBody>
      </p:sp>
      <p:sp>
        <p:nvSpPr>
          <p:cNvPr id="25" name="Nach rechts gekrümmter Pfeil 38">
            <a:extLst>
              <a:ext uri="{FF2B5EF4-FFF2-40B4-BE49-F238E27FC236}">
                <a16:creationId xmlns:a16="http://schemas.microsoft.com/office/drawing/2014/main" id="{B0BD3909-4253-44EC-808C-15B6C8031ED6}"/>
              </a:ext>
            </a:extLst>
          </p:cNvPr>
          <p:cNvSpPr/>
          <p:nvPr/>
        </p:nvSpPr>
        <p:spPr>
          <a:xfrm rot="6856069">
            <a:off x="3411487" y="303156"/>
            <a:ext cx="382393" cy="2207803"/>
          </a:xfrm>
          <a:prstGeom prst="curvedRightArrow">
            <a:avLst>
              <a:gd name="adj1" fmla="val 25000"/>
              <a:gd name="adj2" fmla="val 100760"/>
              <a:gd name="adj3" fmla="val 25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84283471-6610-4C0D-B1C4-72A02CAD96EB}"/>
              </a:ext>
            </a:extLst>
          </p:cNvPr>
          <p:cNvSpPr txBox="1"/>
          <p:nvPr/>
        </p:nvSpPr>
        <p:spPr>
          <a:xfrm>
            <a:off x="3617657" y="883573"/>
            <a:ext cx="18101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highlight>
                  <a:srgbClr val="FFFF00"/>
                </a:highlight>
              </a:rPr>
              <a:t>31,97    €/kWh/h/y </a:t>
            </a:r>
            <a:endParaRPr lang="en-GB" b="1" dirty="0">
              <a:highlight>
                <a:srgbClr val="FFFF00"/>
              </a:highlight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59CC033A-1BE1-4F31-8702-9C231E8AC611}"/>
              </a:ext>
            </a:extLst>
          </p:cNvPr>
          <p:cNvSpPr/>
          <p:nvPr/>
        </p:nvSpPr>
        <p:spPr>
          <a:xfrm>
            <a:off x="55583" y="4788877"/>
            <a:ext cx="907423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rgbClr val="000000"/>
                </a:solidFill>
                <a:latin typeface="Arial" panose="020B0604020202020204" pitchFamily="34" charset="0"/>
              </a:rPr>
              <a:t>Termination fee for GCA is </a:t>
            </a:r>
            <a:r>
              <a:rPr lang="en-US" sz="1400" b="1" i="1" u="sng" dirty="0">
                <a:solidFill>
                  <a:srgbClr val="FF0000"/>
                </a:solidFill>
                <a:latin typeface="Arial" panose="020B0604020202020204" pitchFamily="34" charset="0"/>
              </a:rPr>
              <a:t>0.033%</a:t>
            </a:r>
            <a:r>
              <a:rPr lang="en-US" sz="1400" b="1" i="1" dirty="0">
                <a:solidFill>
                  <a:srgbClr val="000000"/>
                </a:solidFill>
                <a:latin typeface="Arial" panose="020B0604020202020204" pitchFamily="34" charset="0"/>
              </a:rPr>
              <a:t> and FGSZ  is </a:t>
            </a:r>
            <a:r>
              <a:rPr lang="en-US" sz="1400" b="1" i="1" u="sng" dirty="0">
                <a:solidFill>
                  <a:srgbClr val="FF0000"/>
                </a:solidFill>
                <a:latin typeface="Arial" panose="020B0604020202020204" pitchFamily="34" charset="0"/>
              </a:rPr>
              <a:t>10%</a:t>
            </a:r>
            <a:r>
              <a:rPr lang="en-US" sz="1400" b="1" i="1" dirty="0">
                <a:solidFill>
                  <a:srgbClr val="000000"/>
                </a:solidFill>
                <a:latin typeface="Arial" panose="020B0604020202020204" pitchFamily="34" charset="0"/>
              </a:rPr>
              <a:t> of the respective value of the individual Bid </a:t>
            </a:r>
            <a:endParaRPr lang="de-DE" sz="1400" b="1" i="1" dirty="0"/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65F12036-9279-40DC-9B62-2662C36E5F85}"/>
              </a:ext>
            </a:extLst>
          </p:cNvPr>
          <p:cNvSpPr txBox="1"/>
          <p:nvPr/>
        </p:nvSpPr>
        <p:spPr>
          <a:xfrm>
            <a:off x="5406886" y="1163387"/>
            <a:ext cx="2092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HU: 29,8    €/kWh/h/y </a:t>
            </a:r>
            <a:endParaRPr lang="en-GB" b="1" dirty="0"/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A7CD51AC-AD6E-4971-8F45-AFD6E2AC6D41}"/>
              </a:ext>
            </a:extLst>
          </p:cNvPr>
          <p:cNvSpPr txBox="1"/>
          <p:nvPr/>
        </p:nvSpPr>
        <p:spPr>
          <a:xfrm>
            <a:off x="5406176" y="898838"/>
            <a:ext cx="25015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AT:    2,17  €/kWh/h/y </a:t>
            </a:r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10202135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7" grpId="0" animBg="1"/>
      <p:bldP spid="25" grpId="0" animBg="1"/>
      <p:bldP spid="26" grpId="0"/>
      <p:bldP spid="28" grpId="0"/>
      <p:bldP spid="29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87120FE-F4B3-4A54-938C-A6D066B95E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Project costs overview HUAT offer level 1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891166E-0949-4C39-9485-724A811DF0EB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(in local currency) status 06.04.2018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D00BCBD-E65A-4000-8523-E3FB66A1DF6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10" name="Foliennummernplatzhalter 3">
            <a:extLst>
              <a:ext uri="{FF2B5EF4-FFF2-40B4-BE49-F238E27FC236}">
                <a16:creationId xmlns:a16="http://schemas.microsoft.com/office/drawing/2014/main" id="{852297A9-A8E9-4E7F-B298-15F79EEBF4E8}"/>
              </a:ext>
            </a:extLst>
          </p:cNvPr>
          <p:cNvSpPr txBox="1">
            <a:spLocks/>
          </p:cNvSpPr>
          <p:nvPr/>
        </p:nvSpPr>
        <p:spPr>
          <a:xfrm>
            <a:off x="7740352" y="4769165"/>
            <a:ext cx="1080000" cy="180000"/>
          </a:xfrm>
          <a:prstGeom prst="rect">
            <a:avLst/>
          </a:prstGeom>
        </p:spPr>
        <p:txBody>
          <a:bodyPr vert="horz" lIns="0" tIns="0" rIns="0" bIns="0" rtlCol="0" anchor="ctr">
            <a:normAutofit fontScale="85000" lnSpcReduction="20000"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600" i="1" kern="1200" baseline="0">
                <a:solidFill>
                  <a:schemeClr val="bg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1pPr>
            <a:lvl2pPr marL="268288" indent="-268288" algn="l" defTabSz="914400" rtl="0" eaLnBrk="1" latinLnBrk="0" hangingPunct="1">
              <a:spcBef>
                <a:spcPts val="500"/>
              </a:spcBef>
              <a:buClr>
                <a:srgbClr val="0066A9"/>
              </a:buClr>
              <a:buFont typeface="Arial" panose="020B0604020202020204" pitchFamily="34" charset="0"/>
              <a:buChar char="&gt;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2pPr>
            <a:lvl3pPr marL="536575" indent="-268288" algn="l" defTabSz="914400" rtl="0" eaLnBrk="1" latinLnBrk="0" hangingPunct="1">
              <a:spcBef>
                <a:spcPts val="400"/>
              </a:spcBef>
              <a:buClr>
                <a:srgbClr val="0066A9"/>
              </a:buClr>
              <a:buFont typeface="Wingdings" panose="05000000000000000000" pitchFamily="2" charset="2"/>
              <a:buChar char="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3pPr>
            <a:lvl4pPr marL="720725" indent="-273050" algn="l" defTabSz="914400" rtl="0" eaLnBrk="1" latinLnBrk="0" hangingPunct="1">
              <a:spcBef>
                <a:spcPts val="4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9AE58CD-3741-43C7-A2FD-7865044D30D6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11" name="Foliennummernplatzhalter 3">
            <a:extLst>
              <a:ext uri="{FF2B5EF4-FFF2-40B4-BE49-F238E27FC236}">
                <a16:creationId xmlns:a16="http://schemas.microsoft.com/office/drawing/2014/main" id="{A4FA5F36-7857-4508-BA28-6AC53F9C201E}"/>
              </a:ext>
            </a:extLst>
          </p:cNvPr>
          <p:cNvSpPr txBox="1">
            <a:spLocks/>
          </p:cNvSpPr>
          <p:nvPr/>
        </p:nvSpPr>
        <p:spPr>
          <a:xfrm>
            <a:off x="7839000" y="4120431"/>
            <a:ext cx="2133600" cy="47625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38FDFA3-F5B0-4BC3-9E09-D644D952F017}" type="slidenum">
              <a:rPr lang="de-DE" altLang="de-DE" smtClean="0"/>
              <a:pPr/>
              <a:t>14</a:t>
            </a:fld>
            <a:endParaRPr lang="de-DE" altLang="de-DE" dirty="0"/>
          </a:p>
        </p:txBody>
      </p:sp>
      <p:grpSp>
        <p:nvGrpSpPr>
          <p:cNvPr id="12" name="Gruppierung 1">
            <a:extLst>
              <a:ext uri="{FF2B5EF4-FFF2-40B4-BE49-F238E27FC236}">
                <a16:creationId xmlns:a16="http://schemas.microsoft.com/office/drawing/2014/main" id="{F7C12467-24AE-4259-B357-D7AAFC83B9F8}"/>
              </a:ext>
            </a:extLst>
          </p:cNvPr>
          <p:cNvGrpSpPr/>
          <p:nvPr/>
        </p:nvGrpSpPr>
        <p:grpSpPr>
          <a:xfrm>
            <a:off x="533903" y="1188448"/>
            <a:ext cx="7992945" cy="3421066"/>
            <a:chOff x="4992688" y="4651375"/>
            <a:chExt cx="1290637" cy="449263"/>
          </a:xfrm>
        </p:grpSpPr>
        <p:sp>
          <p:nvSpPr>
            <p:cNvPr id="13" name="Freeform 26">
              <a:extLst>
                <a:ext uri="{FF2B5EF4-FFF2-40B4-BE49-F238E27FC236}">
                  <a16:creationId xmlns:a16="http://schemas.microsoft.com/office/drawing/2014/main" id="{E23D5B8B-BAB5-4A14-9799-27C16385DAF3}"/>
                </a:ext>
              </a:extLst>
            </p:cNvPr>
            <p:cNvSpPr>
              <a:spLocks/>
            </p:cNvSpPr>
            <p:nvPr/>
          </p:nvSpPr>
          <p:spPr bwMode="gray">
            <a:xfrm>
              <a:off x="4992688" y="4651375"/>
              <a:ext cx="500062" cy="228600"/>
            </a:xfrm>
            <a:custGeom>
              <a:avLst/>
              <a:gdLst>
                <a:gd name="T0" fmla="*/ 31 w 302"/>
                <a:gd name="T1" fmla="*/ 209 h 148"/>
                <a:gd name="T2" fmla="*/ 48 w 302"/>
                <a:gd name="T3" fmla="*/ 207 h 148"/>
                <a:gd name="T4" fmla="*/ 70 w 302"/>
                <a:gd name="T5" fmla="*/ 215 h 148"/>
                <a:gd name="T6" fmla="*/ 86 w 302"/>
                <a:gd name="T7" fmla="*/ 229 h 148"/>
                <a:gd name="T8" fmla="*/ 100 w 302"/>
                <a:gd name="T9" fmla="*/ 244 h 148"/>
                <a:gd name="T10" fmla="*/ 138 w 302"/>
                <a:gd name="T11" fmla="*/ 224 h 148"/>
                <a:gd name="T12" fmla="*/ 155 w 302"/>
                <a:gd name="T13" fmla="*/ 207 h 148"/>
                <a:gd name="T14" fmla="*/ 198 w 302"/>
                <a:gd name="T15" fmla="*/ 209 h 148"/>
                <a:gd name="T16" fmla="*/ 217 w 302"/>
                <a:gd name="T17" fmla="*/ 229 h 148"/>
                <a:gd name="T18" fmla="*/ 275 w 302"/>
                <a:gd name="T19" fmla="*/ 220 h 148"/>
                <a:gd name="T20" fmla="*/ 303 w 302"/>
                <a:gd name="T21" fmla="*/ 209 h 148"/>
                <a:gd name="T22" fmla="*/ 392 w 302"/>
                <a:gd name="T23" fmla="*/ 198 h 148"/>
                <a:gd name="T24" fmla="*/ 429 w 302"/>
                <a:gd name="T25" fmla="*/ 184 h 148"/>
                <a:gd name="T26" fmla="*/ 477 w 302"/>
                <a:gd name="T27" fmla="*/ 189 h 148"/>
                <a:gd name="T28" fmla="*/ 486 w 302"/>
                <a:gd name="T29" fmla="*/ 207 h 148"/>
                <a:gd name="T30" fmla="*/ 523 w 302"/>
                <a:gd name="T31" fmla="*/ 215 h 148"/>
                <a:gd name="T32" fmla="*/ 523 w 302"/>
                <a:gd name="T33" fmla="*/ 184 h 148"/>
                <a:gd name="T34" fmla="*/ 516 w 302"/>
                <a:gd name="T35" fmla="*/ 164 h 148"/>
                <a:gd name="T36" fmla="*/ 499 w 302"/>
                <a:gd name="T37" fmla="*/ 106 h 148"/>
                <a:gd name="T38" fmla="*/ 577 w 302"/>
                <a:gd name="T39" fmla="*/ 76 h 148"/>
                <a:gd name="T40" fmla="*/ 593 w 302"/>
                <a:gd name="T41" fmla="*/ 50 h 148"/>
                <a:gd name="T42" fmla="*/ 661 w 302"/>
                <a:gd name="T43" fmla="*/ 47 h 148"/>
                <a:gd name="T44" fmla="*/ 700 w 302"/>
                <a:gd name="T45" fmla="*/ 56 h 148"/>
                <a:gd name="T46" fmla="*/ 770 w 302"/>
                <a:gd name="T47" fmla="*/ 50 h 148"/>
                <a:gd name="T48" fmla="*/ 905 w 302"/>
                <a:gd name="T49" fmla="*/ 21 h 148"/>
                <a:gd name="T50" fmla="*/ 1070 w 302"/>
                <a:gd name="T51" fmla="*/ 26 h 148"/>
                <a:gd name="T52" fmla="*/ 1106 w 302"/>
                <a:gd name="T53" fmla="*/ 47 h 148"/>
                <a:gd name="T54" fmla="*/ 1100 w 302"/>
                <a:gd name="T55" fmla="*/ 91 h 148"/>
                <a:gd name="T56" fmla="*/ 1160 w 302"/>
                <a:gd name="T57" fmla="*/ 143 h 148"/>
                <a:gd name="T58" fmla="*/ 1121 w 302"/>
                <a:gd name="T59" fmla="*/ 189 h 148"/>
                <a:gd name="T60" fmla="*/ 1060 w 302"/>
                <a:gd name="T61" fmla="*/ 184 h 148"/>
                <a:gd name="T62" fmla="*/ 1023 w 302"/>
                <a:gd name="T63" fmla="*/ 195 h 148"/>
                <a:gd name="T64" fmla="*/ 1060 w 302"/>
                <a:gd name="T65" fmla="*/ 209 h 148"/>
                <a:gd name="T66" fmla="*/ 1028 w 302"/>
                <a:gd name="T67" fmla="*/ 229 h 148"/>
                <a:gd name="T68" fmla="*/ 1038 w 302"/>
                <a:gd name="T69" fmla="*/ 267 h 148"/>
                <a:gd name="T70" fmla="*/ 1008 w 302"/>
                <a:gd name="T71" fmla="*/ 306 h 148"/>
                <a:gd name="T72" fmla="*/ 964 w 302"/>
                <a:gd name="T73" fmla="*/ 334 h 148"/>
                <a:gd name="T74" fmla="*/ 884 w 302"/>
                <a:gd name="T75" fmla="*/ 347 h 148"/>
                <a:gd name="T76" fmla="*/ 792 w 302"/>
                <a:gd name="T77" fmla="*/ 347 h 148"/>
                <a:gd name="T78" fmla="*/ 732 w 302"/>
                <a:gd name="T79" fmla="*/ 366 h 148"/>
                <a:gd name="T80" fmla="*/ 675 w 302"/>
                <a:gd name="T81" fmla="*/ 362 h 148"/>
                <a:gd name="T82" fmla="*/ 577 w 302"/>
                <a:gd name="T83" fmla="*/ 351 h 148"/>
                <a:gd name="T84" fmla="*/ 429 w 302"/>
                <a:gd name="T85" fmla="*/ 332 h 148"/>
                <a:gd name="T86" fmla="*/ 382 w 302"/>
                <a:gd name="T87" fmla="*/ 297 h 148"/>
                <a:gd name="T88" fmla="*/ 332 w 302"/>
                <a:gd name="T89" fmla="*/ 290 h 148"/>
                <a:gd name="T90" fmla="*/ 275 w 302"/>
                <a:gd name="T91" fmla="*/ 290 h 148"/>
                <a:gd name="T92" fmla="*/ 244 w 302"/>
                <a:gd name="T93" fmla="*/ 290 h 148"/>
                <a:gd name="T94" fmla="*/ 185 w 302"/>
                <a:gd name="T95" fmla="*/ 316 h 148"/>
                <a:gd name="T96" fmla="*/ 138 w 302"/>
                <a:gd name="T97" fmla="*/ 290 h 148"/>
                <a:gd name="T98" fmla="*/ 94 w 302"/>
                <a:gd name="T99" fmla="*/ 306 h 148"/>
                <a:gd name="T100" fmla="*/ 56 w 302"/>
                <a:gd name="T101" fmla="*/ 283 h 148"/>
                <a:gd name="T102" fmla="*/ 16 w 302"/>
                <a:gd name="T103" fmla="*/ 267 h 148"/>
                <a:gd name="T104" fmla="*/ 16 w 302"/>
                <a:gd name="T105" fmla="*/ 229 h 148"/>
                <a:gd name="T106" fmla="*/ 10 w 302"/>
                <a:gd name="T107" fmla="*/ 207 h 1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02"/>
                <a:gd name="T163" fmla="*/ 0 h 148"/>
                <a:gd name="T164" fmla="*/ 302 w 302"/>
                <a:gd name="T165" fmla="*/ 148 h 14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02" h="148">
                  <a:moveTo>
                    <a:pt x="2" y="80"/>
                  </a:moveTo>
                  <a:lnTo>
                    <a:pt x="8" y="82"/>
                  </a:lnTo>
                  <a:lnTo>
                    <a:pt x="12" y="78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8" y="84"/>
                  </a:lnTo>
                  <a:lnTo>
                    <a:pt x="22" y="86"/>
                  </a:lnTo>
                  <a:lnTo>
                    <a:pt x="22" y="90"/>
                  </a:lnTo>
                  <a:lnTo>
                    <a:pt x="26" y="90"/>
                  </a:lnTo>
                  <a:lnTo>
                    <a:pt x="26" y="96"/>
                  </a:lnTo>
                  <a:lnTo>
                    <a:pt x="28" y="96"/>
                  </a:lnTo>
                  <a:lnTo>
                    <a:pt x="36" y="88"/>
                  </a:lnTo>
                  <a:lnTo>
                    <a:pt x="36" y="80"/>
                  </a:lnTo>
                  <a:lnTo>
                    <a:pt x="40" y="80"/>
                  </a:lnTo>
                  <a:lnTo>
                    <a:pt x="44" y="80"/>
                  </a:lnTo>
                  <a:lnTo>
                    <a:pt x="52" y="82"/>
                  </a:lnTo>
                  <a:lnTo>
                    <a:pt x="54" y="86"/>
                  </a:lnTo>
                  <a:lnTo>
                    <a:pt x="56" y="90"/>
                  </a:lnTo>
                  <a:lnTo>
                    <a:pt x="66" y="90"/>
                  </a:lnTo>
                  <a:lnTo>
                    <a:pt x="72" y="86"/>
                  </a:lnTo>
                  <a:lnTo>
                    <a:pt x="74" y="82"/>
                  </a:lnTo>
                  <a:lnTo>
                    <a:pt x="78" y="82"/>
                  </a:lnTo>
                  <a:lnTo>
                    <a:pt x="80" y="78"/>
                  </a:lnTo>
                  <a:lnTo>
                    <a:pt x="102" y="78"/>
                  </a:lnTo>
                  <a:lnTo>
                    <a:pt x="104" y="72"/>
                  </a:lnTo>
                  <a:lnTo>
                    <a:pt x="112" y="72"/>
                  </a:lnTo>
                  <a:lnTo>
                    <a:pt x="114" y="76"/>
                  </a:lnTo>
                  <a:lnTo>
                    <a:pt x="124" y="74"/>
                  </a:lnTo>
                  <a:lnTo>
                    <a:pt x="128" y="76"/>
                  </a:lnTo>
                  <a:lnTo>
                    <a:pt x="126" y="80"/>
                  </a:lnTo>
                  <a:lnTo>
                    <a:pt x="134" y="86"/>
                  </a:lnTo>
                  <a:lnTo>
                    <a:pt x="136" y="84"/>
                  </a:lnTo>
                  <a:lnTo>
                    <a:pt x="136" y="76"/>
                  </a:lnTo>
                  <a:lnTo>
                    <a:pt x="136" y="72"/>
                  </a:lnTo>
                  <a:lnTo>
                    <a:pt x="130" y="70"/>
                  </a:lnTo>
                  <a:lnTo>
                    <a:pt x="134" y="64"/>
                  </a:lnTo>
                  <a:lnTo>
                    <a:pt x="124" y="48"/>
                  </a:lnTo>
                  <a:lnTo>
                    <a:pt x="130" y="42"/>
                  </a:lnTo>
                  <a:lnTo>
                    <a:pt x="148" y="34"/>
                  </a:lnTo>
                  <a:lnTo>
                    <a:pt x="150" y="30"/>
                  </a:lnTo>
                  <a:lnTo>
                    <a:pt x="150" y="22"/>
                  </a:lnTo>
                  <a:lnTo>
                    <a:pt x="154" y="20"/>
                  </a:lnTo>
                  <a:lnTo>
                    <a:pt x="160" y="26"/>
                  </a:lnTo>
                  <a:lnTo>
                    <a:pt x="172" y="18"/>
                  </a:lnTo>
                  <a:lnTo>
                    <a:pt x="174" y="18"/>
                  </a:lnTo>
                  <a:lnTo>
                    <a:pt x="182" y="22"/>
                  </a:lnTo>
                  <a:lnTo>
                    <a:pt x="190" y="24"/>
                  </a:lnTo>
                  <a:lnTo>
                    <a:pt x="200" y="20"/>
                  </a:lnTo>
                  <a:lnTo>
                    <a:pt x="212" y="0"/>
                  </a:lnTo>
                  <a:lnTo>
                    <a:pt x="236" y="8"/>
                  </a:lnTo>
                  <a:lnTo>
                    <a:pt x="254" y="14"/>
                  </a:lnTo>
                  <a:lnTo>
                    <a:pt x="278" y="10"/>
                  </a:lnTo>
                  <a:lnTo>
                    <a:pt x="286" y="16"/>
                  </a:lnTo>
                  <a:lnTo>
                    <a:pt x="288" y="18"/>
                  </a:lnTo>
                  <a:lnTo>
                    <a:pt x="288" y="20"/>
                  </a:lnTo>
                  <a:lnTo>
                    <a:pt x="286" y="36"/>
                  </a:lnTo>
                  <a:lnTo>
                    <a:pt x="290" y="42"/>
                  </a:lnTo>
                  <a:lnTo>
                    <a:pt x="302" y="56"/>
                  </a:lnTo>
                  <a:lnTo>
                    <a:pt x="292" y="64"/>
                  </a:lnTo>
                  <a:lnTo>
                    <a:pt x="292" y="74"/>
                  </a:lnTo>
                  <a:lnTo>
                    <a:pt x="280" y="74"/>
                  </a:lnTo>
                  <a:lnTo>
                    <a:pt x="276" y="72"/>
                  </a:lnTo>
                  <a:lnTo>
                    <a:pt x="270" y="72"/>
                  </a:lnTo>
                  <a:lnTo>
                    <a:pt x="266" y="76"/>
                  </a:lnTo>
                  <a:lnTo>
                    <a:pt x="274" y="78"/>
                  </a:lnTo>
                  <a:lnTo>
                    <a:pt x="276" y="82"/>
                  </a:lnTo>
                  <a:lnTo>
                    <a:pt x="274" y="88"/>
                  </a:lnTo>
                  <a:lnTo>
                    <a:pt x="268" y="90"/>
                  </a:lnTo>
                  <a:lnTo>
                    <a:pt x="266" y="100"/>
                  </a:lnTo>
                  <a:lnTo>
                    <a:pt x="270" y="104"/>
                  </a:lnTo>
                  <a:lnTo>
                    <a:pt x="268" y="112"/>
                  </a:lnTo>
                  <a:lnTo>
                    <a:pt x="262" y="120"/>
                  </a:lnTo>
                  <a:lnTo>
                    <a:pt x="250" y="124"/>
                  </a:lnTo>
                  <a:lnTo>
                    <a:pt x="250" y="132"/>
                  </a:lnTo>
                  <a:lnTo>
                    <a:pt x="236" y="130"/>
                  </a:lnTo>
                  <a:lnTo>
                    <a:pt x="230" y="136"/>
                  </a:lnTo>
                  <a:lnTo>
                    <a:pt x="216" y="132"/>
                  </a:lnTo>
                  <a:lnTo>
                    <a:pt x="206" y="136"/>
                  </a:lnTo>
                  <a:lnTo>
                    <a:pt x="194" y="148"/>
                  </a:lnTo>
                  <a:lnTo>
                    <a:pt x="190" y="144"/>
                  </a:lnTo>
                  <a:lnTo>
                    <a:pt x="180" y="144"/>
                  </a:lnTo>
                  <a:lnTo>
                    <a:pt x="176" y="142"/>
                  </a:lnTo>
                  <a:lnTo>
                    <a:pt x="158" y="140"/>
                  </a:lnTo>
                  <a:lnTo>
                    <a:pt x="150" y="138"/>
                  </a:lnTo>
                  <a:lnTo>
                    <a:pt x="134" y="136"/>
                  </a:lnTo>
                  <a:lnTo>
                    <a:pt x="112" y="130"/>
                  </a:lnTo>
                  <a:lnTo>
                    <a:pt x="106" y="120"/>
                  </a:lnTo>
                  <a:lnTo>
                    <a:pt x="100" y="116"/>
                  </a:lnTo>
                  <a:lnTo>
                    <a:pt x="100" y="108"/>
                  </a:lnTo>
                  <a:lnTo>
                    <a:pt x="86" y="114"/>
                  </a:lnTo>
                  <a:lnTo>
                    <a:pt x="80" y="110"/>
                  </a:lnTo>
                  <a:lnTo>
                    <a:pt x="72" y="114"/>
                  </a:lnTo>
                  <a:lnTo>
                    <a:pt x="70" y="112"/>
                  </a:lnTo>
                  <a:lnTo>
                    <a:pt x="64" y="114"/>
                  </a:lnTo>
                  <a:lnTo>
                    <a:pt x="58" y="124"/>
                  </a:lnTo>
                  <a:lnTo>
                    <a:pt x="48" y="124"/>
                  </a:lnTo>
                  <a:lnTo>
                    <a:pt x="36" y="120"/>
                  </a:lnTo>
                  <a:lnTo>
                    <a:pt x="36" y="114"/>
                  </a:lnTo>
                  <a:lnTo>
                    <a:pt x="34" y="112"/>
                  </a:lnTo>
                  <a:lnTo>
                    <a:pt x="24" y="120"/>
                  </a:lnTo>
                  <a:lnTo>
                    <a:pt x="14" y="114"/>
                  </a:lnTo>
                  <a:lnTo>
                    <a:pt x="14" y="110"/>
                  </a:lnTo>
                  <a:lnTo>
                    <a:pt x="2" y="108"/>
                  </a:lnTo>
                  <a:lnTo>
                    <a:pt x="4" y="104"/>
                  </a:lnTo>
                  <a:lnTo>
                    <a:pt x="0" y="96"/>
                  </a:lnTo>
                  <a:lnTo>
                    <a:pt x="4" y="90"/>
                  </a:lnTo>
                  <a:lnTo>
                    <a:pt x="2" y="80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4" name="Freeform 29">
              <a:extLst>
                <a:ext uri="{FF2B5EF4-FFF2-40B4-BE49-F238E27FC236}">
                  <a16:creationId xmlns:a16="http://schemas.microsoft.com/office/drawing/2014/main" id="{7AAF59DB-FAB3-4B7D-AA46-9728DE1E19A2}"/>
                </a:ext>
              </a:extLst>
            </p:cNvPr>
            <p:cNvSpPr>
              <a:spLocks/>
            </p:cNvSpPr>
            <p:nvPr/>
          </p:nvSpPr>
          <p:spPr bwMode="gray">
            <a:xfrm>
              <a:off x="5424488" y="4686300"/>
              <a:ext cx="433387" cy="247650"/>
            </a:xfrm>
            <a:custGeom>
              <a:avLst/>
              <a:gdLst>
                <a:gd name="T0" fmla="*/ 387 w 260"/>
                <a:gd name="T1" fmla="*/ 388 h 160"/>
                <a:gd name="T2" fmla="*/ 350 w 260"/>
                <a:gd name="T3" fmla="*/ 403 h 160"/>
                <a:gd name="T4" fmla="*/ 318 w 260"/>
                <a:gd name="T5" fmla="*/ 403 h 160"/>
                <a:gd name="T6" fmla="*/ 270 w 260"/>
                <a:gd name="T7" fmla="*/ 408 h 160"/>
                <a:gd name="T8" fmla="*/ 231 w 260"/>
                <a:gd name="T9" fmla="*/ 403 h 160"/>
                <a:gd name="T10" fmla="*/ 157 w 260"/>
                <a:gd name="T11" fmla="*/ 358 h 160"/>
                <a:gd name="T12" fmla="*/ 57 w 260"/>
                <a:gd name="T13" fmla="*/ 321 h 160"/>
                <a:gd name="T14" fmla="*/ 39 w 260"/>
                <a:gd name="T15" fmla="*/ 306 h 160"/>
                <a:gd name="T16" fmla="*/ 16 w 260"/>
                <a:gd name="T17" fmla="*/ 285 h 160"/>
                <a:gd name="T18" fmla="*/ 0 w 260"/>
                <a:gd name="T19" fmla="*/ 250 h 160"/>
                <a:gd name="T20" fmla="*/ 25 w 260"/>
                <a:gd name="T21" fmla="*/ 229 h 160"/>
                <a:gd name="T22" fmla="*/ 31 w 260"/>
                <a:gd name="T23" fmla="*/ 209 h 160"/>
                <a:gd name="T24" fmla="*/ 16 w 260"/>
                <a:gd name="T25" fmla="*/ 198 h 160"/>
                <a:gd name="T26" fmla="*/ 25 w 260"/>
                <a:gd name="T27" fmla="*/ 172 h 160"/>
                <a:gd name="T28" fmla="*/ 48 w 260"/>
                <a:gd name="T29" fmla="*/ 168 h 160"/>
                <a:gd name="T30" fmla="*/ 57 w 260"/>
                <a:gd name="T31" fmla="*/ 153 h 160"/>
                <a:gd name="T32" fmla="*/ 48 w 260"/>
                <a:gd name="T33" fmla="*/ 143 h 160"/>
                <a:gd name="T34" fmla="*/ 16 w 260"/>
                <a:gd name="T35" fmla="*/ 138 h 160"/>
                <a:gd name="T36" fmla="*/ 31 w 260"/>
                <a:gd name="T37" fmla="*/ 126 h 160"/>
                <a:gd name="T38" fmla="*/ 57 w 260"/>
                <a:gd name="T39" fmla="*/ 126 h 160"/>
                <a:gd name="T40" fmla="*/ 72 w 260"/>
                <a:gd name="T41" fmla="*/ 132 h 160"/>
                <a:gd name="T42" fmla="*/ 118 w 260"/>
                <a:gd name="T43" fmla="*/ 132 h 160"/>
                <a:gd name="T44" fmla="*/ 118 w 260"/>
                <a:gd name="T45" fmla="*/ 106 h 160"/>
                <a:gd name="T46" fmla="*/ 157 w 260"/>
                <a:gd name="T47" fmla="*/ 88 h 160"/>
                <a:gd name="T48" fmla="*/ 172 w 260"/>
                <a:gd name="T49" fmla="*/ 76 h 160"/>
                <a:gd name="T50" fmla="*/ 206 w 260"/>
                <a:gd name="T51" fmla="*/ 88 h 160"/>
                <a:gd name="T52" fmla="*/ 245 w 260"/>
                <a:gd name="T53" fmla="*/ 103 h 160"/>
                <a:gd name="T54" fmla="*/ 278 w 260"/>
                <a:gd name="T55" fmla="*/ 103 h 160"/>
                <a:gd name="T56" fmla="*/ 387 w 260"/>
                <a:gd name="T57" fmla="*/ 106 h 160"/>
                <a:gd name="T58" fmla="*/ 415 w 260"/>
                <a:gd name="T59" fmla="*/ 65 h 160"/>
                <a:gd name="T60" fmla="*/ 428 w 260"/>
                <a:gd name="T61" fmla="*/ 65 h 160"/>
                <a:gd name="T62" fmla="*/ 479 w 260"/>
                <a:gd name="T63" fmla="*/ 56 h 160"/>
                <a:gd name="T64" fmla="*/ 516 w 260"/>
                <a:gd name="T65" fmla="*/ 56 h 160"/>
                <a:gd name="T66" fmla="*/ 553 w 260"/>
                <a:gd name="T67" fmla="*/ 56 h 160"/>
                <a:gd name="T68" fmla="*/ 585 w 260"/>
                <a:gd name="T69" fmla="*/ 56 h 160"/>
                <a:gd name="T70" fmla="*/ 658 w 260"/>
                <a:gd name="T71" fmla="*/ 2 h 160"/>
                <a:gd name="T72" fmla="*/ 706 w 260"/>
                <a:gd name="T73" fmla="*/ 0 h 160"/>
                <a:gd name="T74" fmla="*/ 779 w 260"/>
                <a:gd name="T75" fmla="*/ 0 h 160"/>
                <a:gd name="T76" fmla="*/ 816 w 260"/>
                <a:gd name="T77" fmla="*/ 21 h 160"/>
                <a:gd name="T78" fmla="*/ 841 w 260"/>
                <a:gd name="T79" fmla="*/ 30 h 160"/>
                <a:gd name="T80" fmla="*/ 888 w 260"/>
                <a:gd name="T81" fmla="*/ 26 h 160"/>
                <a:gd name="T82" fmla="*/ 894 w 260"/>
                <a:gd name="T83" fmla="*/ 26 h 160"/>
                <a:gd name="T84" fmla="*/ 941 w 260"/>
                <a:gd name="T85" fmla="*/ 47 h 160"/>
                <a:gd name="T86" fmla="*/ 981 w 260"/>
                <a:gd name="T87" fmla="*/ 63 h 160"/>
                <a:gd name="T88" fmla="*/ 1028 w 260"/>
                <a:gd name="T89" fmla="*/ 88 h 160"/>
                <a:gd name="T90" fmla="*/ 999 w 260"/>
                <a:gd name="T91" fmla="*/ 106 h 160"/>
                <a:gd name="T92" fmla="*/ 919 w 260"/>
                <a:gd name="T93" fmla="*/ 122 h 160"/>
                <a:gd name="T94" fmla="*/ 878 w 260"/>
                <a:gd name="T95" fmla="*/ 153 h 160"/>
                <a:gd name="T96" fmla="*/ 816 w 260"/>
                <a:gd name="T97" fmla="*/ 244 h 160"/>
                <a:gd name="T98" fmla="*/ 767 w 260"/>
                <a:gd name="T99" fmla="*/ 300 h 160"/>
                <a:gd name="T100" fmla="*/ 719 w 260"/>
                <a:gd name="T101" fmla="*/ 334 h 160"/>
                <a:gd name="T102" fmla="*/ 696 w 260"/>
                <a:gd name="T103" fmla="*/ 347 h 160"/>
                <a:gd name="T104" fmla="*/ 643 w 260"/>
                <a:gd name="T105" fmla="*/ 347 h 160"/>
                <a:gd name="T106" fmla="*/ 625 w 260"/>
                <a:gd name="T107" fmla="*/ 358 h 160"/>
                <a:gd name="T108" fmla="*/ 610 w 260"/>
                <a:gd name="T109" fmla="*/ 358 h 160"/>
                <a:gd name="T110" fmla="*/ 553 w 260"/>
                <a:gd name="T111" fmla="*/ 351 h 160"/>
                <a:gd name="T112" fmla="*/ 492 w 260"/>
                <a:gd name="T113" fmla="*/ 358 h 160"/>
                <a:gd name="T114" fmla="*/ 387 w 260"/>
                <a:gd name="T115" fmla="*/ 388 h 160"/>
                <a:gd name="T116" fmla="*/ 387 w 260"/>
                <a:gd name="T117" fmla="*/ 388 h 16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60"/>
                <a:gd name="T178" fmla="*/ 0 h 160"/>
                <a:gd name="T179" fmla="*/ 260 w 260"/>
                <a:gd name="T180" fmla="*/ 160 h 16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60" h="160">
                  <a:moveTo>
                    <a:pt x="98" y="152"/>
                  </a:moveTo>
                  <a:lnTo>
                    <a:pt x="88" y="158"/>
                  </a:lnTo>
                  <a:lnTo>
                    <a:pt x="80" y="158"/>
                  </a:lnTo>
                  <a:lnTo>
                    <a:pt x="68" y="160"/>
                  </a:lnTo>
                  <a:lnTo>
                    <a:pt x="58" y="158"/>
                  </a:lnTo>
                  <a:lnTo>
                    <a:pt x="40" y="140"/>
                  </a:lnTo>
                  <a:lnTo>
                    <a:pt x="14" y="126"/>
                  </a:lnTo>
                  <a:lnTo>
                    <a:pt x="10" y="120"/>
                  </a:lnTo>
                  <a:lnTo>
                    <a:pt x="4" y="112"/>
                  </a:lnTo>
                  <a:lnTo>
                    <a:pt x="0" y="98"/>
                  </a:lnTo>
                  <a:lnTo>
                    <a:pt x="6" y="90"/>
                  </a:lnTo>
                  <a:lnTo>
                    <a:pt x="8" y="82"/>
                  </a:lnTo>
                  <a:lnTo>
                    <a:pt x="4" y="78"/>
                  </a:lnTo>
                  <a:lnTo>
                    <a:pt x="6" y="68"/>
                  </a:lnTo>
                  <a:lnTo>
                    <a:pt x="12" y="66"/>
                  </a:lnTo>
                  <a:lnTo>
                    <a:pt x="14" y="60"/>
                  </a:lnTo>
                  <a:lnTo>
                    <a:pt x="12" y="56"/>
                  </a:lnTo>
                  <a:lnTo>
                    <a:pt x="4" y="54"/>
                  </a:lnTo>
                  <a:lnTo>
                    <a:pt x="8" y="50"/>
                  </a:lnTo>
                  <a:lnTo>
                    <a:pt x="14" y="50"/>
                  </a:lnTo>
                  <a:lnTo>
                    <a:pt x="18" y="52"/>
                  </a:lnTo>
                  <a:lnTo>
                    <a:pt x="30" y="52"/>
                  </a:lnTo>
                  <a:lnTo>
                    <a:pt x="30" y="42"/>
                  </a:lnTo>
                  <a:lnTo>
                    <a:pt x="40" y="34"/>
                  </a:lnTo>
                  <a:lnTo>
                    <a:pt x="44" y="30"/>
                  </a:lnTo>
                  <a:lnTo>
                    <a:pt x="52" y="34"/>
                  </a:lnTo>
                  <a:lnTo>
                    <a:pt x="62" y="40"/>
                  </a:lnTo>
                  <a:lnTo>
                    <a:pt x="70" y="40"/>
                  </a:lnTo>
                  <a:lnTo>
                    <a:pt x="98" y="42"/>
                  </a:lnTo>
                  <a:lnTo>
                    <a:pt x="104" y="26"/>
                  </a:lnTo>
                  <a:lnTo>
                    <a:pt x="108" y="26"/>
                  </a:lnTo>
                  <a:lnTo>
                    <a:pt x="122" y="22"/>
                  </a:lnTo>
                  <a:lnTo>
                    <a:pt x="130" y="22"/>
                  </a:lnTo>
                  <a:lnTo>
                    <a:pt x="140" y="22"/>
                  </a:lnTo>
                  <a:lnTo>
                    <a:pt x="148" y="22"/>
                  </a:lnTo>
                  <a:lnTo>
                    <a:pt x="166" y="2"/>
                  </a:lnTo>
                  <a:lnTo>
                    <a:pt x="178" y="0"/>
                  </a:lnTo>
                  <a:lnTo>
                    <a:pt x="196" y="0"/>
                  </a:lnTo>
                  <a:lnTo>
                    <a:pt x="206" y="8"/>
                  </a:lnTo>
                  <a:lnTo>
                    <a:pt x="212" y="12"/>
                  </a:lnTo>
                  <a:lnTo>
                    <a:pt x="224" y="10"/>
                  </a:lnTo>
                  <a:lnTo>
                    <a:pt x="226" y="10"/>
                  </a:lnTo>
                  <a:lnTo>
                    <a:pt x="238" y="18"/>
                  </a:lnTo>
                  <a:lnTo>
                    <a:pt x="248" y="24"/>
                  </a:lnTo>
                  <a:lnTo>
                    <a:pt x="260" y="34"/>
                  </a:lnTo>
                  <a:lnTo>
                    <a:pt x="252" y="42"/>
                  </a:lnTo>
                  <a:lnTo>
                    <a:pt x="232" y="48"/>
                  </a:lnTo>
                  <a:lnTo>
                    <a:pt x="222" y="60"/>
                  </a:lnTo>
                  <a:lnTo>
                    <a:pt x="206" y="96"/>
                  </a:lnTo>
                  <a:lnTo>
                    <a:pt x="194" y="118"/>
                  </a:lnTo>
                  <a:lnTo>
                    <a:pt x="182" y="132"/>
                  </a:lnTo>
                  <a:lnTo>
                    <a:pt x="176" y="136"/>
                  </a:lnTo>
                  <a:lnTo>
                    <a:pt x="162" y="136"/>
                  </a:lnTo>
                  <a:lnTo>
                    <a:pt x="158" y="140"/>
                  </a:lnTo>
                  <a:lnTo>
                    <a:pt x="154" y="140"/>
                  </a:lnTo>
                  <a:lnTo>
                    <a:pt x="140" y="138"/>
                  </a:lnTo>
                  <a:lnTo>
                    <a:pt x="124" y="140"/>
                  </a:lnTo>
                  <a:lnTo>
                    <a:pt x="98" y="152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" name="Freeform 34">
              <a:extLst>
                <a:ext uri="{FF2B5EF4-FFF2-40B4-BE49-F238E27FC236}">
                  <a16:creationId xmlns:a16="http://schemas.microsoft.com/office/drawing/2014/main" id="{D43F11EE-5877-4F2E-9742-C4763201DBD5}"/>
                </a:ext>
              </a:extLst>
            </p:cNvPr>
            <p:cNvSpPr>
              <a:spLocks/>
            </p:cNvSpPr>
            <p:nvPr/>
          </p:nvSpPr>
          <p:spPr bwMode="gray">
            <a:xfrm>
              <a:off x="5683250" y="4713288"/>
              <a:ext cx="600075" cy="387350"/>
            </a:xfrm>
            <a:custGeom>
              <a:avLst/>
              <a:gdLst>
                <a:gd name="T0" fmla="*/ 16 w 362"/>
                <a:gd name="T1" fmla="*/ 318 h 250"/>
                <a:gd name="T2" fmla="*/ 86 w 362"/>
                <a:gd name="T3" fmla="*/ 306 h 250"/>
                <a:gd name="T4" fmla="*/ 155 w 362"/>
                <a:gd name="T5" fmla="*/ 260 h 250"/>
                <a:gd name="T6" fmla="*/ 260 w 362"/>
                <a:gd name="T7" fmla="*/ 109 h 250"/>
                <a:gd name="T8" fmla="*/ 379 w 362"/>
                <a:gd name="T9" fmla="*/ 63 h 250"/>
                <a:gd name="T10" fmla="*/ 413 w 362"/>
                <a:gd name="T11" fmla="*/ 35 h 250"/>
                <a:gd name="T12" fmla="*/ 486 w 362"/>
                <a:gd name="T13" fmla="*/ 35 h 250"/>
                <a:gd name="T14" fmla="*/ 623 w 362"/>
                <a:gd name="T15" fmla="*/ 53 h 250"/>
                <a:gd name="T16" fmla="*/ 646 w 362"/>
                <a:gd name="T17" fmla="*/ 66 h 250"/>
                <a:gd name="T18" fmla="*/ 673 w 362"/>
                <a:gd name="T19" fmla="*/ 77 h 250"/>
                <a:gd name="T20" fmla="*/ 716 w 362"/>
                <a:gd name="T21" fmla="*/ 66 h 250"/>
                <a:gd name="T22" fmla="*/ 858 w 362"/>
                <a:gd name="T23" fmla="*/ 41 h 250"/>
                <a:gd name="T24" fmla="*/ 890 w 362"/>
                <a:gd name="T25" fmla="*/ 2 h 250"/>
                <a:gd name="T26" fmla="*/ 945 w 362"/>
                <a:gd name="T27" fmla="*/ 0 h 250"/>
                <a:gd name="T28" fmla="*/ 1036 w 362"/>
                <a:gd name="T29" fmla="*/ 93 h 250"/>
                <a:gd name="T30" fmla="*/ 1151 w 362"/>
                <a:gd name="T31" fmla="*/ 185 h 250"/>
                <a:gd name="T32" fmla="*/ 1169 w 362"/>
                <a:gd name="T33" fmla="*/ 265 h 250"/>
                <a:gd name="T34" fmla="*/ 1160 w 362"/>
                <a:gd name="T35" fmla="*/ 368 h 250"/>
                <a:gd name="T36" fmla="*/ 1145 w 362"/>
                <a:gd name="T37" fmla="*/ 388 h 250"/>
                <a:gd name="T38" fmla="*/ 1169 w 362"/>
                <a:gd name="T39" fmla="*/ 409 h 250"/>
                <a:gd name="T40" fmla="*/ 1175 w 362"/>
                <a:gd name="T41" fmla="*/ 409 h 250"/>
                <a:gd name="T42" fmla="*/ 1210 w 362"/>
                <a:gd name="T43" fmla="*/ 437 h 250"/>
                <a:gd name="T44" fmla="*/ 1253 w 362"/>
                <a:gd name="T45" fmla="*/ 424 h 250"/>
                <a:gd name="T46" fmla="*/ 1328 w 362"/>
                <a:gd name="T47" fmla="*/ 409 h 250"/>
                <a:gd name="T48" fmla="*/ 1382 w 362"/>
                <a:gd name="T49" fmla="*/ 421 h 250"/>
                <a:gd name="T50" fmla="*/ 1365 w 362"/>
                <a:gd name="T51" fmla="*/ 465 h 250"/>
                <a:gd name="T52" fmla="*/ 1319 w 362"/>
                <a:gd name="T53" fmla="*/ 493 h 250"/>
                <a:gd name="T54" fmla="*/ 1271 w 362"/>
                <a:gd name="T55" fmla="*/ 509 h 250"/>
                <a:gd name="T56" fmla="*/ 1221 w 362"/>
                <a:gd name="T57" fmla="*/ 586 h 250"/>
                <a:gd name="T58" fmla="*/ 1210 w 362"/>
                <a:gd name="T59" fmla="*/ 647 h 250"/>
                <a:gd name="T60" fmla="*/ 1074 w 362"/>
                <a:gd name="T61" fmla="*/ 621 h 250"/>
                <a:gd name="T62" fmla="*/ 1022 w 362"/>
                <a:gd name="T63" fmla="*/ 606 h 250"/>
                <a:gd name="T64" fmla="*/ 945 w 362"/>
                <a:gd name="T65" fmla="*/ 581 h 250"/>
                <a:gd name="T66" fmla="*/ 778 w 362"/>
                <a:gd name="T67" fmla="*/ 645 h 250"/>
                <a:gd name="T68" fmla="*/ 661 w 362"/>
                <a:gd name="T69" fmla="*/ 621 h 250"/>
                <a:gd name="T70" fmla="*/ 593 w 362"/>
                <a:gd name="T71" fmla="*/ 638 h 250"/>
                <a:gd name="T72" fmla="*/ 491 w 362"/>
                <a:gd name="T73" fmla="*/ 616 h 250"/>
                <a:gd name="T74" fmla="*/ 407 w 362"/>
                <a:gd name="T75" fmla="*/ 628 h 250"/>
                <a:gd name="T76" fmla="*/ 392 w 362"/>
                <a:gd name="T77" fmla="*/ 616 h 250"/>
                <a:gd name="T78" fmla="*/ 382 w 362"/>
                <a:gd name="T79" fmla="*/ 591 h 250"/>
                <a:gd name="T80" fmla="*/ 322 w 362"/>
                <a:gd name="T81" fmla="*/ 564 h 250"/>
                <a:gd name="T82" fmla="*/ 338 w 362"/>
                <a:gd name="T83" fmla="*/ 533 h 250"/>
                <a:gd name="T84" fmla="*/ 353 w 362"/>
                <a:gd name="T85" fmla="*/ 527 h 250"/>
                <a:gd name="T86" fmla="*/ 303 w 362"/>
                <a:gd name="T87" fmla="*/ 517 h 250"/>
                <a:gd name="T88" fmla="*/ 275 w 362"/>
                <a:gd name="T89" fmla="*/ 544 h 250"/>
                <a:gd name="T90" fmla="*/ 232 w 362"/>
                <a:gd name="T91" fmla="*/ 517 h 250"/>
                <a:gd name="T92" fmla="*/ 194 w 362"/>
                <a:gd name="T93" fmla="*/ 503 h 250"/>
                <a:gd name="T94" fmla="*/ 163 w 362"/>
                <a:gd name="T95" fmla="*/ 503 h 250"/>
                <a:gd name="T96" fmla="*/ 169 w 362"/>
                <a:gd name="T97" fmla="*/ 486 h 250"/>
                <a:gd name="T98" fmla="*/ 169 w 362"/>
                <a:gd name="T99" fmla="*/ 478 h 250"/>
                <a:gd name="T100" fmla="*/ 169 w 362"/>
                <a:gd name="T101" fmla="*/ 462 h 250"/>
                <a:gd name="T102" fmla="*/ 179 w 362"/>
                <a:gd name="T103" fmla="*/ 448 h 250"/>
                <a:gd name="T104" fmla="*/ 118 w 362"/>
                <a:gd name="T105" fmla="*/ 431 h 250"/>
                <a:gd name="T106" fmla="*/ 76 w 362"/>
                <a:gd name="T107" fmla="*/ 394 h 250"/>
                <a:gd name="T108" fmla="*/ 70 w 362"/>
                <a:gd name="T109" fmla="*/ 362 h 250"/>
                <a:gd name="T110" fmla="*/ 48 w 362"/>
                <a:gd name="T111" fmla="*/ 348 h 250"/>
                <a:gd name="T112" fmla="*/ 0 w 362"/>
                <a:gd name="T113" fmla="*/ 318 h 25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62"/>
                <a:gd name="T172" fmla="*/ 0 h 250"/>
                <a:gd name="T173" fmla="*/ 362 w 362"/>
                <a:gd name="T174" fmla="*/ 250 h 25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62" h="250">
                  <a:moveTo>
                    <a:pt x="0" y="122"/>
                  </a:moveTo>
                  <a:lnTo>
                    <a:pt x="4" y="122"/>
                  </a:lnTo>
                  <a:lnTo>
                    <a:pt x="8" y="118"/>
                  </a:lnTo>
                  <a:lnTo>
                    <a:pt x="22" y="118"/>
                  </a:lnTo>
                  <a:lnTo>
                    <a:pt x="28" y="114"/>
                  </a:lnTo>
                  <a:lnTo>
                    <a:pt x="40" y="100"/>
                  </a:lnTo>
                  <a:lnTo>
                    <a:pt x="52" y="78"/>
                  </a:lnTo>
                  <a:lnTo>
                    <a:pt x="68" y="42"/>
                  </a:lnTo>
                  <a:lnTo>
                    <a:pt x="78" y="30"/>
                  </a:lnTo>
                  <a:lnTo>
                    <a:pt x="98" y="24"/>
                  </a:lnTo>
                  <a:lnTo>
                    <a:pt x="106" y="16"/>
                  </a:lnTo>
                  <a:lnTo>
                    <a:pt x="108" y="14"/>
                  </a:lnTo>
                  <a:lnTo>
                    <a:pt x="120" y="16"/>
                  </a:lnTo>
                  <a:lnTo>
                    <a:pt x="126" y="14"/>
                  </a:lnTo>
                  <a:lnTo>
                    <a:pt x="142" y="18"/>
                  </a:lnTo>
                  <a:lnTo>
                    <a:pt x="162" y="20"/>
                  </a:lnTo>
                  <a:lnTo>
                    <a:pt x="168" y="18"/>
                  </a:lnTo>
                  <a:lnTo>
                    <a:pt x="168" y="26"/>
                  </a:lnTo>
                  <a:lnTo>
                    <a:pt x="174" y="26"/>
                  </a:lnTo>
                  <a:lnTo>
                    <a:pt x="176" y="30"/>
                  </a:lnTo>
                  <a:lnTo>
                    <a:pt x="182" y="30"/>
                  </a:lnTo>
                  <a:lnTo>
                    <a:pt x="186" y="26"/>
                  </a:lnTo>
                  <a:lnTo>
                    <a:pt x="190" y="20"/>
                  </a:lnTo>
                  <a:lnTo>
                    <a:pt x="224" y="16"/>
                  </a:lnTo>
                  <a:lnTo>
                    <a:pt x="230" y="12"/>
                  </a:lnTo>
                  <a:lnTo>
                    <a:pt x="232" y="2"/>
                  </a:lnTo>
                  <a:lnTo>
                    <a:pt x="242" y="2"/>
                  </a:lnTo>
                  <a:lnTo>
                    <a:pt x="246" y="0"/>
                  </a:lnTo>
                  <a:lnTo>
                    <a:pt x="258" y="4"/>
                  </a:lnTo>
                  <a:lnTo>
                    <a:pt x="270" y="36"/>
                  </a:lnTo>
                  <a:lnTo>
                    <a:pt x="288" y="64"/>
                  </a:lnTo>
                  <a:lnTo>
                    <a:pt x="300" y="72"/>
                  </a:lnTo>
                  <a:lnTo>
                    <a:pt x="306" y="92"/>
                  </a:lnTo>
                  <a:lnTo>
                    <a:pt x="304" y="102"/>
                  </a:lnTo>
                  <a:lnTo>
                    <a:pt x="300" y="128"/>
                  </a:lnTo>
                  <a:lnTo>
                    <a:pt x="302" y="142"/>
                  </a:lnTo>
                  <a:lnTo>
                    <a:pt x="302" y="148"/>
                  </a:lnTo>
                  <a:lnTo>
                    <a:pt x="298" y="150"/>
                  </a:lnTo>
                  <a:lnTo>
                    <a:pt x="302" y="152"/>
                  </a:lnTo>
                  <a:lnTo>
                    <a:pt x="304" y="158"/>
                  </a:lnTo>
                  <a:lnTo>
                    <a:pt x="306" y="158"/>
                  </a:lnTo>
                  <a:lnTo>
                    <a:pt x="308" y="164"/>
                  </a:lnTo>
                  <a:lnTo>
                    <a:pt x="316" y="168"/>
                  </a:lnTo>
                  <a:lnTo>
                    <a:pt x="326" y="170"/>
                  </a:lnTo>
                  <a:lnTo>
                    <a:pt x="326" y="164"/>
                  </a:lnTo>
                  <a:lnTo>
                    <a:pt x="334" y="164"/>
                  </a:lnTo>
                  <a:lnTo>
                    <a:pt x="346" y="158"/>
                  </a:lnTo>
                  <a:lnTo>
                    <a:pt x="358" y="160"/>
                  </a:lnTo>
                  <a:lnTo>
                    <a:pt x="360" y="162"/>
                  </a:lnTo>
                  <a:lnTo>
                    <a:pt x="362" y="170"/>
                  </a:lnTo>
                  <a:lnTo>
                    <a:pt x="356" y="180"/>
                  </a:lnTo>
                  <a:lnTo>
                    <a:pt x="352" y="188"/>
                  </a:lnTo>
                  <a:lnTo>
                    <a:pt x="344" y="190"/>
                  </a:lnTo>
                  <a:lnTo>
                    <a:pt x="338" y="190"/>
                  </a:lnTo>
                  <a:lnTo>
                    <a:pt x="332" y="196"/>
                  </a:lnTo>
                  <a:lnTo>
                    <a:pt x="322" y="210"/>
                  </a:lnTo>
                  <a:lnTo>
                    <a:pt x="318" y="226"/>
                  </a:lnTo>
                  <a:lnTo>
                    <a:pt x="316" y="246"/>
                  </a:lnTo>
                  <a:lnTo>
                    <a:pt x="316" y="250"/>
                  </a:lnTo>
                  <a:lnTo>
                    <a:pt x="304" y="248"/>
                  </a:lnTo>
                  <a:lnTo>
                    <a:pt x="280" y="240"/>
                  </a:lnTo>
                  <a:lnTo>
                    <a:pt x="272" y="234"/>
                  </a:lnTo>
                  <a:lnTo>
                    <a:pt x="266" y="234"/>
                  </a:lnTo>
                  <a:lnTo>
                    <a:pt x="256" y="224"/>
                  </a:lnTo>
                  <a:lnTo>
                    <a:pt x="246" y="224"/>
                  </a:lnTo>
                  <a:lnTo>
                    <a:pt x="234" y="230"/>
                  </a:lnTo>
                  <a:lnTo>
                    <a:pt x="202" y="248"/>
                  </a:lnTo>
                  <a:lnTo>
                    <a:pt x="196" y="248"/>
                  </a:lnTo>
                  <a:lnTo>
                    <a:pt x="172" y="240"/>
                  </a:lnTo>
                  <a:lnTo>
                    <a:pt x="166" y="240"/>
                  </a:lnTo>
                  <a:lnTo>
                    <a:pt x="154" y="246"/>
                  </a:lnTo>
                  <a:lnTo>
                    <a:pt x="148" y="248"/>
                  </a:lnTo>
                  <a:lnTo>
                    <a:pt x="128" y="238"/>
                  </a:lnTo>
                  <a:lnTo>
                    <a:pt x="120" y="238"/>
                  </a:lnTo>
                  <a:lnTo>
                    <a:pt x="106" y="242"/>
                  </a:lnTo>
                  <a:lnTo>
                    <a:pt x="102" y="242"/>
                  </a:lnTo>
                  <a:lnTo>
                    <a:pt x="102" y="238"/>
                  </a:lnTo>
                  <a:lnTo>
                    <a:pt x="106" y="230"/>
                  </a:lnTo>
                  <a:lnTo>
                    <a:pt x="100" y="228"/>
                  </a:lnTo>
                  <a:lnTo>
                    <a:pt x="92" y="224"/>
                  </a:lnTo>
                  <a:lnTo>
                    <a:pt x="84" y="218"/>
                  </a:lnTo>
                  <a:lnTo>
                    <a:pt x="82" y="210"/>
                  </a:lnTo>
                  <a:lnTo>
                    <a:pt x="88" y="206"/>
                  </a:lnTo>
                  <a:lnTo>
                    <a:pt x="94" y="206"/>
                  </a:lnTo>
                  <a:lnTo>
                    <a:pt x="92" y="204"/>
                  </a:lnTo>
                  <a:lnTo>
                    <a:pt x="82" y="196"/>
                  </a:lnTo>
                  <a:lnTo>
                    <a:pt x="78" y="200"/>
                  </a:lnTo>
                  <a:lnTo>
                    <a:pt x="74" y="206"/>
                  </a:lnTo>
                  <a:lnTo>
                    <a:pt x="72" y="210"/>
                  </a:lnTo>
                  <a:lnTo>
                    <a:pt x="64" y="204"/>
                  </a:lnTo>
                  <a:lnTo>
                    <a:pt x="60" y="200"/>
                  </a:lnTo>
                  <a:lnTo>
                    <a:pt x="50" y="200"/>
                  </a:lnTo>
                  <a:lnTo>
                    <a:pt x="50" y="194"/>
                  </a:lnTo>
                  <a:lnTo>
                    <a:pt x="46" y="194"/>
                  </a:lnTo>
                  <a:lnTo>
                    <a:pt x="42" y="194"/>
                  </a:lnTo>
                  <a:lnTo>
                    <a:pt x="40" y="190"/>
                  </a:lnTo>
                  <a:lnTo>
                    <a:pt x="44" y="188"/>
                  </a:lnTo>
                  <a:lnTo>
                    <a:pt x="48" y="186"/>
                  </a:lnTo>
                  <a:lnTo>
                    <a:pt x="44" y="184"/>
                  </a:lnTo>
                  <a:lnTo>
                    <a:pt x="40" y="182"/>
                  </a:lnTo>
                  <a:lnTo>
                    <a:pt x="44" y="178"/>
                  </a:lnTo>
                  <a:lnTo>
                    <a:pt x="46" y="176"/>
                  </a:lnTo>
                  <a:lnTo>
                    <a:pt x="46" y="172"/>
                  </a:lnTo>
                  <a:lnTo>
                    <a:pt x="40" y="170"/>
                  </a:lnTo>
                  <a:lnTo>
                    <a:pt x="30" y="166"/>
                  </a:lnTo>
                  <a:lnTo>
                    <a:pt x="18" y="154"/>
                  </a:lnTo>
                  <a:lnTo>
                    <a:pt x="20" y="152"/>
                  </a:lnTo>
                  <a:lnTo>
                    <a:pt x="18" y="148"/>
                  </a:lnTo>
                  <a:lnTo>
                    <a:pt x="18" y="140"/>
                  </a:lnTo>
                  <a:lnTo>
                    <a:pt x="14" y="140"/>
                  </a:lnTo>
                  <a:lnTo>
                    <a:pt x="12" y="134"/>
                  </a:lnTo>
                  <a:lnTo>
                    <a:pt x="2" y="130"/>
                  </a:lnTo>
                  <a:lnTo>
                    <a:pt x="0" y="122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CAF30335-EAD6-45B4-8962-F8DDB5BC34A9}"/>
              </a:ext>
            </a:extLst>
          </p:cNvPr>
          <p:cNvCxnSpPr/>
          <p:nvPr/>
        </p:nvCxnSpPr>
        <p:spPr>
          <a:xfrm flipH="1" flipV="1">
            <a:off x="3586380" y="1941306"/>
            <a:ext cx="208663" cy="216024"/>
          </a:xfrm>
          <a:prstGeom prst="straightConnector1">
            <a:avLst/>
          </a:prstGeom>
          <a:ln w="28575">
            <a:solidFill>
              <a:srgbClr val="0066A9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E0C6ACEB-3452-49C7-8365-2ED411491CC8}"/>
              </a:ext>
            </a:extLst>
          </p:cNvPr>
          <p:cNvCxnSpPr/>
          <p:nvPr/>
        </p:nvCxnSpPr>
        <p:spPr>
          <a:xfrm flipH="1" flipV="1">
            <a:off x="3316656" y="1694602"/>
            <a:ext cx="208663" cy="216024"/>
          </a:xfrm>
          <a:prstGeom prst="straightConnector1">
            <a:avLst/>
          </a:prstGeom>
          <a:ln w="28575">
            <a:solidFill>
              <a:srgbClr val="0066A9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feld 17">
                <a:extLst>
                  <a:ext uri="{FF2B5EF4-FFF2-40B4-BE49-F238E27FC236}">
                    <a16:creationId xmlns:a16="http://schemas.microsoft.com/office/drawing/2014/main" id="{31E8A884-5B83-42ED-B3E1-73571A331118}"/>
                  </a:ext>
                </a:extLst>
              </p:cNvPr>
              <p:cNvSpPr txBox="1"/>
              <p:nvPr/>
            </p:nvSpPr>
            <p:spPr>
              <a:xfrm>
                <a:off x="1971363" y="1983068"/>
                <a:ext cx="1287532" cy="553998"/>
              </a:xfrm>
              <a:prstGeom prst="rect">
                <a:avLst/>
              </a:prstGeom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de-DE" sz="1000" b="1" i="1" dirty="0" smtClean="0">
                        <a:solidFill>
                          <a:srgbClr val="0066AA"/>
                        </a:solidFill>
                        <a:latin typeface="Cambria Math"/>
                      </a:rPr>
                      <m:t>𝑷𝑽𝒂𝒓</m:t>
                    </m:r>
                  </m:oMath>
                </a14:m>
                <a:r>
                  <a:rPr lang="de-DE" sz="1000" b="1" dirty="0">
                    <a:solidFill>
                      <a:srgbClr val="0066AA"/>
                    </a:solidFill>
                  </a:rPr>
                  <a:t> = 124.323.000 €</a:t>
                </a:r>
              </a:p>
              <a:p>
                <a:r>
                  <a:rPr lang="de-DE" sz="1000" b="1" dirty="0"/>
                  <a:t>f = 0,5</a:t>
                </a:r>
              </a:p>
              <a:p>
                <a:r>
                  <a:rPr lang="de-DE" sz="1000" b="1" dirty="0" err="1">
                    <a:solidFill>
                      <a:srgbClr val="005C2A"/>
                    </a:solidFill>
                  </a:rPr>
                  <a:t>PVuc</a:t>
                </a:r>
                <a:r>
                  <a:rPr lang="de-DE" sz="1000" b="1" dirty="0">
                    <a:solidFill>
                      <a:srgbClr val="005C2A"/>
                    </a:solidFill>
                  </a:rPr>
                  <a:t> = 62.161.500 €</a:t>
                </a:r>
                <a:endParaRPr lang="en-GB" sz="1000" b="1" dirty="0">
                  <a:solidFill>
                    <a:srgbClr val="005C2A"/>
                  </a:solidFill>
                </a:endParaRPr>
              </a:p>
            </p:txBody>
          </p:sp>
        </mc:Choice>
        <mc:Fallback xmlns="">
          <p:sp>
            <p:nvSpPr>
              <p:cNvPr id="18" name="Textfeld 17">
                <a:extLst>
                  <a:ext uri="{FF2B5EF4-FFF2-40B4-BE49-F238E27FC236}">
                    <a16:creationId xmlns:a16="http://schemas.microsoft.com/office/drawing/2014/main" id="{31E8A884-5B83-42ED-B3E1-73571A33111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71363" y="1983068"/>
                <a:ext cx="1287532" cy="55399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0" name="Ellipse 19">
            <a:extLst>
              <a:ext uri="{FF2B5EF4-FFF2-40B4-BE49-F238E27FC236}">
                <a16:creationId xmlns:a16="http://schemas.microsoft.com/office/drawing/2014/main" id="{F7B64A19-9C33-44D3-AA03-5B6438603D72}"/>
              </a:ext>
            </a:extLst>
          </p:cNvPr>
          <p:cNvSpPr/>
          <p:nvPr/>
        </p:nvSpPr>
        <p:spPr>
          <a:xfrm>
            <a:off x="4423780" y="1688749"/>
            <a:ext cx="46038" cy="46038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000"/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44BD89E3-F59B-4316-B747-5D3D6829D33C}"/>
              </a:ext>
            </a:extLst>
          </p:cNvPr>
          <p:cNvSpPr/>
          <p:nvPr/>
        </p:nvSpPr>
        <p:spPr>
          <a:xfrm>
            <a:off x="3458310" y="1493159"/>
            <a:ext cx="46038" cy="46038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000"/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C3D3B05B-8E14-4243-834C-CC3917426C02}"/>
              </a:ext>
            </a:extLst>
          </p:cNvPr>
          <p:cNvSpPr/>
          <p:nvPr/>
        </p:nvSpPr>
        <p:spPr>
          <a:xfrm>
            <a:off x="3520527" y="1904773"/>
            <a:ext cx="46038" cy="46038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000"/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9970A966-D75D-457A-B12C-250A17968F62}"/>
              </a:ext>
            </a:extLst>
          </p:cNvPr>
          <p:cNvSpPr/>
          <p:nvPr/>
        </p:nvSpPr>
        <p:spPr>
          <a:xfrm>
            <a:off x="5110904" y="2943231"/>
            <a:ext cx="46038" cy="46038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000"/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5144BEF0-0CDC-4A08-9A69-8B716DE1514D}"/>
              </a:ext>
            </a:extLst>
          </p:cNvPr>
          <p:cNvSpPr/>
          <p:nvPr/>
        </p:nvSpPr>
        <p:spPr>
          <a:xfrm>
            <a:off x="8196949" y="3563586"/>
            <a:ext cx="46038" cy="46038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000"/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13FD4F7F-EF16-41BC-AFFD-508C1CBC9BBC}"/>
              </a:ext>
            </a:extLst>
          </p:cNvPr>
          <p:cNvSpPr/>
          <p:nvPr/>
        </p:nvSpPr>
        <p:spPr>
          <a:xfrm>
            <a:off x="8044011" y="4229431"/>
            <a:ext cx="46038" cy="46038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000"/>
          </a:p>
        </p:txBody>
      </p:sp>
      <p:pic>
        <p:nvPicPr>
          <p:cNvPr id="26" name="Picture 2">
            <a:extLst>
              <a:ext uri="{FF2B5EF4-FFF2-40B4-BE49-F238E27FC236}">
                <a16:creationId xmlns:a16="http://schemas.microsoft.com/office/drawing/2014/main" id="{C49333F4-5507-4392-919D-30F8E0DD4C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3495" y="1649971"/>
            <a:ext cx="413712" cy="277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Ellipse 26">
            <a:extLst>
              <a:ext uri="{FF2B5EF4-FFF2-40B4-BE49-F238E27FC236}">
                <a16:creationId xmlns:a16="http://schemas.microsoft.com/office/drawing/2014/main" id="{90CC38E5-E65E-4F52-B273-C3451FA68456}"/>
              </a:ext>
            </a:extLst>
          </p:cNvPr>
          <p:cNvSpPr/>
          <p:nvPr/>
        </p:nvSpPr>
        <p:spPr>
          <a:xfrm>
            <a:off x="3049488" y="1690535"/>
            <a:ext cx="46038" cy="45719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000"/>
          </a:p>
        </p:txBody>
      </p:sp>
      <p:pic>
        <p:nvPicPr>
          <p:cNvPr id="28" name="Picture 2">
            <a:extLst>
              <a:ext uri="{FF2B5EF4-FFF2-40B4-BE49-F238E27FC236}">
                <a16:creationId xmlns:a16="http://schemas.microsoft.com/office/drawing/2014/main" id="{8BF645E0-C611-49D9-A165-1942C7FF5E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4303" y="1618810"/>
            <a:ext cx="554679" cy="2784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4" descr="Bildergebnis für romania flag">
            <a:extLst>
              <a:ext uri="{FF2B5EF4-FFF2-40B4-BE49-F238E27FC236}">
                <a16:creationId xmlns:a16="http://schemas.microsoft.com/office/drawing/2014/main" id="{1DFF86A2-DB7C-4C7D-BE62-A385F169CD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6269" y="3797368"/>
            <a:ext cx="504056" cy="336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0" name="Textfeld 29">
                <a:extLst>
                  <a:ext uri="{FF2B5EF4-FFF2-40B4-BE49-F238E27FC236}">
                    <a16:creationId xmlns:a16="http://schemas.microsoft.com/office/drawing/2014/main" id="{DC1ACE4C-9DDB-49D6-87B0-1B7B1240BE8A}"/>
                  </a:ext>
                </a:extLst>
              </p:cNvPr>
              <p:cNvSpPr txBox="1"/>
              <p:nvPr/>
            </p:nvSpPr>
            <p:spPr>
              <a:xfrm>
                <a:off x="3917192" y="1969752"/>
                <a:ext cx="1287532" cy="553998"/>
              </a:xfrm>
              <a:prstGeom prst="rect">
                <a:avLst/>
              </a:prstGeom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de-DE" sz="1000" b="1" i="1" dirty="0" smtClean="0">
                        <a:solidFill>
                          <a:srgbClr val="0066AA"/>
                        </a:solidFill>
                        <a:latin typeface="Cambria Math"/>
                      </a:rPr>
                      <m:t>𝑷𝑽𝒂𝒓</m:t>
                    </m:r>
                    <m:r>
                      <a:rPr lang="de-DE" sz="1000" b="1" i="1" dirty="0" smtClean="0">
                        <a:solidFill>
                          <a:srgbClr val="0066AA"/>
                        </a:solidFill>
                        <a:latin typeface="Cambria Math"/>
                      </a:rPr>
                      <m:t> </m:t>
                    </m:r>
                  </m:oMath>
                </a14:m>
                <a:r>
                  <a:rPr lang="de-DE" sz="1000" b="1" dirty="0">
                    <a:solidFill>
                      <a:srgbClr val="0066AA"/>
                    </a:solidFill>
                  </a:rPr>
                  <a:t>= 539.021.508 €</a:t>
                </a:r>
              </a:p>
              <a:p>
                <a:r>
                  <a:rPr lang="de-DE" sz="1000" b="1" dirty="0"/>
                  <a:t>f = 1</a:t>
                </a:r>
              </a:p>
              <a:p>
                <a:r>
                  <a:rPr lang="de-DE" sz="1000" b="1" dirty="0" err="1">
                    <a:solidFill>
                      <a:srgbClr val="005C2A"/>
                    </a:solidFill>
                  </a:rPr>
                  <a:t>PVuc</a:t>
                </a:r>
                <a:r>
                  <a:rPr lang="de-DE" sz="1000" b="1" dirty="0">
                    <a:solidFill>
                      <a:srgbClr val="005C2A"/>
                    </a:solidFill>
                  </a:rPr>
                  <a:t> = 539.021.508 €</a:t>
                </a:r>
                <a:endParaRPr lang="en-GB" sz="1000" b="1" dirty="0">
                  <a:solidFill>
                    <a:srgbClr val="005C2A"/>
                  </a:solidFill>
                </a:endParaRPr>
              </a:p>
            </p:txBody>
          </p:sp>
        </mc:Choice>
        <mc:Fallback xmlns="">
          <p:sp>
            <p:nvSpPr>
              <p:cNvPr id="30" name="Textfeld 29">
                <a:extLst>
                  <a:ext uri="{FF2B5EF4-FFF2-40B4-BE49-F238E27FC236}">
                    <a16:creationId xmlns:a16="http://schemas.microsoft.com/office/drawing/2014/main" id="{DC1ACE4C-9DDB-49D6-87B0-1B7B1240BE8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17192" y="1969752"/>
                <a:ext cx="1287532" cy="553998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" name="Inhaltsplatzhalter 63">
                <a:extLst>
                  <a:ext uri="{FF2B5EF4-FFF2-40B4-BE49-F238E27FC236}">
                    <a16:creationId xmlns:a16="http://schemas.microsoft.com/office/drawing/2014/main" id="{DF3A8DFA-3E75-4389-8A42-FC73EDCA98C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1270" y="3331686"/>
                <a:ext cx="2191626" cy="1733808"/>
              </a:xfrm>
              <a:prstGeom prst="rect">
                <a:avLst/>
              </a:prstGeom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rtlCol="0">
                <a:spAutoFit/>
              </a:bodyPr>
              <a:lstStyle>
                <a:lvl1pPr marL="0" indent="0" algn="l" defTabSz="914400" rtl="0" eaLnBrk="1" latinLnBrk="0" hangingPunct="1">
                  <a:spcBef>
                    <a:spcPts val="500"/>
                  </a:spcBef>
                  <a:buFont typeface="Arial" pitchFamily="34" charset="0"/>
                  <a:buNone/>
                  <a:defRPr sz="1600" kern="1200">
                    <a:solidFill>
                      <a:schemeClr val="tx1"/>
                    </a:solidFill>
                    <a:latin typeface="+mj-lt"/>
                    <a:ea typeface="+mn-ea"/>
                    <a:cs typeface="Arial" pitchFamily="34" charset="0"/>
                  </a:defRPr>
                </a:lvl1pPr>
                <a:lvl2pPr marL="268288" indent="-268288" algn="l" defTabSz="914400" rtl="0" eaLnBrk="1" latinLnBrk="0" hangingPunct="1">
                  <a:spcBef>
                    <a:spcPts val="500"/>
                  </a:spcBef>
                  <a:buClr>
                    <a:srgbClr val="0066A9"/>
                  </a:buClr>
                  <a:buFont typeface="Arial" panose="020B0604020202020204" pitchFamily="34" charset="0"/>
                  <a:buChar char="&gt;"/>
                  <a:defRPr sz="1600" kern="1200">
                    <a:solidFill>
                      <a:schemeClr val="tx1"/>
                    </a:solidFill>
                    <a:latin typeface="+mj-lt"/>
                    <a:ea typeface="+mn-ea"/>
                    <a:cs typeface="Arial" pitchFamily="34" charset="0"/>
                  </a:defRPr>
                </a:lvl2pPr>
                <a:lvl3pPr marL="536575" indent="-268288" algn="l" defTabSz="914400" rtl="0" eaLnBrk="1" latinLnBrk="0" hangingPunct="1">
                  <a:spcBef>
                    <a:spcPts val="400"/>
                  </a:spcBef>
                  <a:buClr>
                    <a:srgbClr val="0066A9"/>
                  </a:buClr>
                  <a:buFont typeface="Wingdings" panose="05000000000000000000" pitchFamily="2" charset="2"/>
                  <a:buChar char=""/>
                  <a:defRPr sz="1600" kern="1200">
                    <a:solidFill>
                      <a:schemeClr val="tx1"/>
                    </a:solidFill>
                    <a:latin typeface="+mj-lt"/>
                    <a:ea typeface="+mn-ea"/>
                    <a:cs typeface="Arial" pitchFamily="34" charset="0"/>
                  </a:defRPr>
                </a:lvl3pPr>
                <a:lvl4pPr marL="720725" indent="-273050" algn="l" defTabSz="914400" rtl="0" eaLnBrk="1" latinLnBrk="0" hangingPunct="1">
                  <a:spcBef>
                    <a:spcPts val="400"/>
                  </a:spcBef>
                  <a:buFont typeface="Symbol" panose="05050102010706020507" pitchFamily="18" charset="2"/>
                  <a:buChar char="-"/>
                  <a:defRPr sz="1600" kern="1200">
                    <a:solidFill>
                      <a:schemeClr val="tx1"/>
                    </a:solidFill>
                    <a:latin typeface="+mj-lt"/>
                    <a:ea typeface="+mn-ea"/>
                    <a:cs typeface="Arial" pitchFamily="34" charset="0"/>
                  </a:defRPr>
                </a:lvl4pPr>
                <a:lvl5pPr marL="896938" indent="-269875" algn="l" defTabSz="914400" rtl="0" eaLnBrk="1" latinLnBrk="0" hangingPunct="1">
                  <a:spcBef>
                    <a:spcPts val="400"/>
                  </a:spcBef>
                  <a:buFont typeface="Arial" pitchFamily="34" charset="0"/>
                  <a:buChar char="–"/>
                  <a:defRPr sz="1600" kern="1200">
                    <a:solidFill>
                      <a:schemeClr val="tx1"/>
                    </a:solidFill>
                    <a:latin typeface="+mj-lt"/>
                    <a:ea typeface="+mn-ea"/>
                    <a:cs typeface="Arial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de-DE" sz="1800" b="1" dirty="0"/>
                  <a:t>Economic </a:t>
                </a:r>
                <a:r>
                  <a:rPr lang="de-DE" sz="1800" b="1" dirty="0" err="1"/>
                  <a:t>test</a:t>
                </a:r>
                <a:endParaRPr lang="de-DE" sz="1800" b="1" dirty="0"/>
              </a:p>
              <a:p>
                <a:endParaRPr lang="de-DE" sz="1800" b="1" i="1" dirty="0">
                  <a:latin typeface="Cambria Math"/>
                </a:endParaRPr>
              </a:p>
              <a:p>
                <a14:m>
                  <m:oMath xmlns:m="http://schemas.openxmlformats.org/officeDocument/2006/math">
                    <m:r>
                      <a:rPr lang="de-DE" sz="1800" b="1" i="1" dirty="0" smtClean="0">
                        <a:solidFill>
                          <a:srgbClr val="0066AA"/>
                        </a:solidFill>
                        <a:highlight>
                          <a:srgbClr val="FFFF00"/>
                        </a:highlight>
                        <a:latin typeface="Cambria Math"/>
                      </a:rPr>
                      <m:t>𝑷𝑽𝒂𝒓</m:t>
                    </m:r>
                  </m:oMath>
                </a14:m>
                <a:r>
                  <a:rPr lang="de-DE" sz="1800" b="1" dirty="0">
                    <a:solidFill>
                      <a:srgbClr val="0066AA"/>
                    </a:solidFill>
                    <a:highlight>
                      <a:srgbClr val="FFFF00"/>
                    </a:highlight>
                  </a:rPr>
                  <a:t> = 663.344.508 €</a:t>
                </a:r>
              </a:p>
              <a:p>
                <a:r>
                  <a:rPr lang="de-DE" sz="1800" b="1" dirty="0"/>
                  <a:t>f ~ 0,906</a:t>
                </a:r>
              </a:p>
              <a:p>
                <a:r>
                  <a:rPr lang="de-DE" sz="1800" b="1" i="1" dirty="0">
                    <a:solidFill>
                      <a:srgbClr val="005C2A"/>
                    </a:solidFill>
                  </a:rPr>
                  <a:t>PV </a:t>
                </a:r>
                <a:r>
                  <a:rPr lang="de-DE" sz="1800" b="1" i="1" dirty="0" err="1">
                    <a:solidFill>
                      <a:srgbClr val="005C2A"/>
                    </a:solidFill>
                  </a:rPr>
                  <a:t>uc</a:t>
                </a:r>
                <a:r>
                  <a:rPr lang="de-DE" sz="1800" b="1" i="1" dirty="0">
                    <a:solidFill>
                      <a:srgbClr val="005C2A"/>
                    </a:solidFill>
                  </a:rPr>
                  <a:t> </a:t>
                </a:r>
                <a:r>
                  <a:rPr lang="de-DE" sz="1800" b="1" dirty="0">
                    <a:solidFill>
                      <a:srgbClr val="005C2A"/>
                    </a:solidFill>
                  </a:rPr>
                  <a:t>= 601.183.008 €</a:t>
                </a:r>
                <a:endParaRPr lang="en-GB" sz="1800" b="1" dirty="0">
                  <a:solidFill>
                    <a:srgbClr val="005C2A"/>
                  </a:solidFill>
                </a:endParaRPr>
              </a:p>
            </p:txBody>
          </p:sp>
        </mc:Choice>
        <mc:Fallback xmlns="">
          <p:sp>
            <p:nvSpPr>
              <p:cNvPr id="31" name="Inhaltsplatzhalter 63">
                <a:extLst>
                  <a:ext uri="{FF2B5EF4-FFF2-40B4-BE49-F238E27FC236}">
                    <a16:creationId xmlns:a16="http://schemas.microsoft.com/office/drawing/2014/main" id="{DF3A8DFA-3E75-4389-8A42-FC73EDCA98C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270" y="3331686"/>
                <a:ext cx="2191626" cy="1733808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7885555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30" grpId="0" animBg="1"/>
      <p:bldP spid="31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F04CCF-D99F-4D3C-A355-8E685871B9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Tariffs overview HUAT  offer level 2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9871B04-53E4-43ED-A4BD-614E1555BB32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2AE8B5C-0876-4428-91FF-CBBC3051DFD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8" name="Foliennummernplatzhalter 3">
            <a:extLst>
              <a:ext uri="{FF2B5EF4-FFF2-40B4-BE49-F238E27FC236}">
                <a16:creationId xmlns:a16="http://schemas.microsoft.com/office/drawing/2014/main" id="{78ABFE26-7096-48BD-9416-ED5F931A5D60}"/>
              </a:ext>
            </a:extLst>
          </p:cNvPr>
          <p:cNvSpPr txBox="1">
            <a:spLocks/>
          </p:cNvSpPr>
          <p:nvPr/>
        </p:nvSpPr>
        <p:spPr>
          <a:xfrm>
            <a:off x="7396608" y="4890869"/>
            <a:ext cx="2133600" cy="4762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600" i="1" kern="1200" baseline="0">
                <a:solidFill>
                  <a:schemeClr val="bg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1pPr>
            <a:lvl2pPr marL="268288" indent="-268288" algn="l" defTabSz="914400" rtl="0" eaLnBrk="1" latinLnBrk="0" hangingPunct="1">
              <a:spcBef>
                <a:spcPts val="500"/>
              </a:spcBef>
              <a:buClr>
                <a:srgbClr val="0066A9"/>
              </a:buClr>
              <a:buFont typeface="Arial" panose="020B0604020202020204" pitchFamily="34" charset="0"/>
              <a:buChar char="&gt;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2pPr>
            <a:lvl3pPr marL="536575" indent="-268288" algn="l" defTabSz="914400" rtl="0" eaLnBrk="1" latinLnBrk="0" hangingPunct="1">
              <a:spcBef>
                <a:spcPts val="400"/>
              </a:spcBef>
              <a:buClr>
                <a:srgbClr val="0066A9"/>
              </a:buClr>
              <a:buFont typeface="Wingdings" panose="05000000000000000000" pitchFamily="2" charset="2"/>
              <a:buChar char="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3pPr>
            <a:lvl4pPr marL="720725" indent="-273050" algn="l" defTabSz="914400" rtl="0" eaLnBrk="1" latinLnBrk="0" hangingPunct="1">
              <a:spcBef>
                <a:spcPts val="4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38FDFA3-F5B0-4BC3-9E09-D644D952F017}" type="slidenum">
              <a:rPr lang="de-DE" altLang="de-DE" smtClean="0"/>
              <a:pPr/>
              <a:t>15</a:t>
            </a:fld>
            <a:endParaRPr lang="de-DE" altLang="de-DE" dirty="0"/>
          </a:p>
        </p:txBody>
      </p:sp>
      <p:grpSp>
        <p:nvGrpSpPr>
          <p:cNvPr id="9" name="Gruppierung 1">
            <a:extLst>
              <a:ext uri="{FF2B5EF4-FFF2-40B4-BE49-F238E27FC236}">
                <a16:creationId xmlns:a16="http://schemas.microsoft.com/office/drawing/2014/main" id="{680A3638-CB4B-497B-A3FB-9A07CEF95081}"/>
              </a:ext>
            </a:extLst>
          </p:cNvPr>
          <p:cNvGrpSpPr/>
          <p:nvPr/>
        </p:nvGrpSpPr>
        <p:grpSpPr>
          <a:xfrm>
            <a:off x="-731754" y="936285"/>
            <a:ext cx="10097113" cy="4241412"/>
            <a:chOff x="4992688" y="4651375"/>
            <a:chExt cx="1290637" cy="449263"/>
          </a:xfrm>
        </p:grpSpPr>
        <p:sp>
          <p:nvSpPr>
            <p:cNvPr id="10" name="Freeform 26">
              <a:extLst>
                <a:ext uri="{FF2B5EF4-FFF2-40B4-BE49-F238E27FC236}">
                  <a16:creationId xmlns:a16="http://schemas.microsoft.com/office/drawing/2014/main" id="{17E41ADE-072D-4775-A810-56533262D804}"/>
                </a:ext>
              </a:extLst>
            </p:cNvPr>
            <p:cNvSpPr>
              <a:spLocks/>
            </p:cNvSpPr>
            <p:nvPr/>
          </p:nvSpPr>
          <p:spPr bwMode="gray">
            <a:xfrm>
              <a:off x="4992688" y="4651375"/>
              <a:ext cx="500062" cy="228600"/>
            </a:xfrm>
            <a:custGeom>
              <a:avLst/>
              <a:gdLst>
                <a:gd name="T0" fmla="*/ 31 w 302"/>
                <a:gd name="T1" fmla="*/ 209 h 148"/>
                <a:gd name="T2" fmla="*/ 48 w 302"/>
                <a:gd name="T3" fmla="*/ 207 h 148"/>
                <a:gd name="T4" fmla="*/ 70 w 302"/>
                <a:gd name="T5" fmla="*/ 215 h 148"/>
                <a:gd name="T6" fmla="*/ 86 w 302"/>
                <a:gd name="T7" fmla="*/ 229 h 148"/>
                <a:gd name="T8" fmla="*/ 100 w 302"/>
                <a:gd name="T9" fmla="*/ 244 h 148"/>
                <a:gd name="T10" fmla="*/ 138 w 302"/>
                <a:gd name="T11" fmla="*/ 224 h 148"/>
                <a:gd name="T12" fmla="*/ 155 w 302"/>
                <a:gd name="T13" fmla="*/ 207 h 148"/>
                <a:gd name="T14" fmla="*/ 198 w 302"/>
                <a:gd name="T15" fmla="*/ 209 h 148"/>
                <a:gd name="T16" fmla="*/ 217 w 302"/>
                <a:gd name="T17" fmla="*/ 229 h 148"/>
                <a:gd name="T18" fmla="*/ 275 w 302"/>
                <a:gd name="T19" fmla="*/ 220 h 148"/>
                <a:gd name="T20" fmla="*/ 303 w 302"/>
                <a:gd name="T21" fmla="*/ 209 h 148"/>
                <a:gd name="T22" fmla="*/ 392 w 302"/>
                <a:gd name="T23" fmla="*/ 198 h 148"/>
                <a:gd name="T24" fmla="*/ 429 w 302"/>
                <a:gd name="T25" fmla="*/ 184 h 148"/>
                <a:gd name="T26" fmla="*/ 477 w 302"/>
                <a:gd name="T27" fmla="*/ 189 h 148"/>
                <a:gd name="T28" fmla="*/ 486 w 302"/>
                <a:gd name="T29" fmla="*/ 207 h 148"/>
                <a:gd name="T30" fmla="*/ 523 w 302"/>
                <a:gd name="T31" fmla="*/ 215 h 148"/>
                <a:gd name="T32" fmla="*/ 523 w 302"/>
                <a:gd name="T33" fmla="*/ 184 h 148"/>
                <a:gd name="T34" fmla="*/ 516 w 302"/>
                <a:gd name="T35" fmla="*/ 164 h 148"/>
                <a:gd name="T36" fmla="*/ 499 w 302"/>
                <a:gd name="T37" fmla="*/ 106 h 148"/>
                <a:gd name="T38" fmla="*/ 577 w 302"/>
                <a:gd name="T39" fmla="*/ 76 h 148"/>
                <a:gd name="T40" fmla="*/ 593 w 302"/>
                <a:gd name="T41" fmla="*/ 50 h 148"/>
                <a:gd name="T42" fmla="*/ 661 w 302"/>
                <a:gd name="T43" fmla="*/ 47 h 148"/>
                <a:gd name="T44" fmla="*/ 700 w 302"/>
                <a:gd name="T45" fmla="*/ 56 h 148"/>
                <a:gd name="T46" fmla="*/ 770 w 302"/>
                <a:gd name="T47" fmla="*/ 50 h 148"/>
                <a:gd name="T48" fmla="*/ 905 w 302"/>
                <a:gd name="T49" fmla="*/ 21 h 148"/>
                <a:gd name="T50" fmla="*/ 1070 w 302"/>
                <a:gd name="T51" fmla="*/ 26 h 148"/>
                <a:gd name="T52" fmla="*/ 1106 w 302"/>
                <a:gd name="T53" fmla="*/ 47 h 148"/>
                <a:gd name="T54" fmla="*/ 1100 w 302"/>
                <a:gd name="T55" fmla="*/ 91 h 148"/>
                <a:gd name="T56" fmla="*/ 1160 w 302"/>
                <a:gd name="T57" fmla="*/ 143 h 148"/>
                <a:gd name="T58" fmla="*/ 1121 w 302"/>
                <a:gd name="T59" fmla="*/ 189 h 148"/>
                <a:gd name="T60" fmla="*/ 1060 w 302"/>
                <a:gd name="T61" fmla="*/ 184 h 148"/>
                <a:gd name="T62" fmla="*/ 1023 w 302"/>
                <a:gd name="T63" fmla="*/ 195 h 148"/>
                <a:gd name="T64" fmla="*/ 1060 w 302"/>
                <a:gd name="T65" fmla="*/ 209 h 148"/>
                <a:gd name="T66" fmla="*/ 1028 w 302"/>
                <a:gd name="T67" fmla="*/ 229 h 148"/>
                <a:gd name="T68" fmla="*/ 1038 w 302"/>
                <a:gd name="T69" fmla="*/ 267 h 148"/>
                <a:gd name="T70" fmla="*/ 1008 w 302"/>
                <a:gd name="T71" fmla="*/ 306 h 148"/>
                <a:gd name="T72" fmla="*/ 964 w 302"/>
                <a:gd name="T73" fmla="*/ 334 h 148"/>
                <a:gd name="T74" fmla="*/ 884 w 302"/>
                <a:gd name="T75" fmla="*/ 347 h 148"/>
                <a:gd name="T76" fmla="*/ 792 w 302"/>
                <a:gd name="T77" fmla="*/ 347 h 148"/>
                <a:gd name="T78" fmla="*/ 732 w 302"/>
                <a:gd name="T79" fmla="*/ 366 h 148"/>
                <a:gd name="T80" fmla="*/ 675 w 302"/>
                <a:gd name="T81" fmla="*/ 362 h 148"/>
                <a:gd name="T82" fmla="*/ 577 w 302"/>
                <a:gd name="T83" fmla="*/ 351 h 148"/>
                <a:gd name="T84" fmla="*/ 429 w 302"/>
                <a:gd name="T85" fmla="*/ 332 h 148"/>
                <a:gd name="T86" fmla="*/ 382 w 302"/>
                <a:gd name="T87" fmla="*/ 297 h 148"/>
                <a:gd name="T88" fmla="*/ 332 w 302"/>
                <a:gd name="T89" fmla="*/ 290 h 148"/>
                <a:gd name="T90" fmla="*/ 275 w 302"/>
                <a:gd name="T91" fmla="*/ 290 h 148"/>
                <a:gd name="T92" fmla="*/ 244 w 302"/>
                <a:gd name="T93" fmla="*/ 290 h 148"/>
                <a:gd name="T94" fmla="*/ 185 w 302"/>
                <a:gd name="T95" fmla="*/ 316 h 148"/>
                <a:gd name="T96" fmla="*/ 138 w 302"/>
                <a:gd name="T97" fmla="*/ 290 h 148"/>
                <a:gd name="T98" fmla="*/ 94 w 302"/>
                <a:gd name="T99" fmla="*/ 306 h 148"/>
                <a:gd name="T100" fmla="*/ 56 w 302"/>
                <a:gd name="T101" fmla="*/ 283 h 148"/>
                <a:gd name="T102" fmla="*/ 16 w 302"/>
                <a:gd name="T103" fmla="*/ 267 h 148"/>
                <a:gd name="T104" fmla="*/ 16 w 302"/>
                <a:gd name="T105" fmla="*/ 229 h 148"/>
                <a:gd name="T106" fmla="*/ 10 w 302"/>
                <a:gd name="T107" fmla="*/ 207 h 1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02"/>
                <a:gd name="T163" fmla="*/ 0 h 148"/>
                <a:gd name="T164" fmla="*/ 302 w 302"/>
                <a:gd name="T165" fmla="*/ 148 h 14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02" h="148">
                  <a:moveTo>
                    <a:pt x="2" y="80"/>
                  </a:moveTo>
                  <a:lnTo>
                    <a:pt x="8" y="82"/>
                  </a:lnTo>
                  <a:lnTo>
                    <a:pt x="12" y="78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8" y="84"/>
                  </a:lnTo>
                  <a:lnTo>
                    <a:pt x="22" y="86"/>
                  </a:lnTo>
                  <a:lnTo>
                    <a:pt x="22" y="90"/>
                  </a:lnTo>
                  <a:lnTo>
                    <a:pt x="26" y="90"/>
                  </a:lnTo>
                  <a:lnTo>
                    <a:pt x="26" y="96"/>
                  </a:lnTo>
                  <a:lnTo>
                    <a:pt x="28" y="96"/>
                  </a:lnTo>
                  <a:lnTo>
                    <a:pt x="36" y="88"/>
                  </a:lnTo>
                  <a:lnTo>
                    <a:pt x="36" y="80"/>
                  </a:lnTo>
                  <a:lnTo>
                    <a:pt x="40" y="80"/>
                  </a:lnTo>
                  <a:lnTo>
                    <a:pt x="44" y="80"/>
                  </a:lnTo>
                  <a:lnTo>
                    <a:pt x="52" y="82"/>
                  </a:lnTo>
                  <a:lnTo>
                    <a:pt x="54" y="86"/>
                  </a:lnTo>
                  <a:lnTo>
                    <a:pt x="56" y="90"/>
                  </a:lnTo>
                  <a:lnTo>
                    <a:pt x="66" y="90"/>
                  </a:lnTo>
                  <a:lnTo>
                    <a:pt x="72" y="86"/>
                  </a:lnTo>
                  <a:lnTo>
                    <a:pt x="74" y="82"/>
                  </a:lnTo>
                  <a:lnTo>
                    <a:pt x="78" y="82"/>
                  </a:lnTo>
                  <a:lnTo>
                    <a:pt x="80" y="78"/>
                  </a:lnTo>
                  <a:lnTo>
                    <a:pt x="102" y="78"/>
                  </a:lnTo>
                  <a:lnTo>
                    <a:pt x="104" y="72"/>
                  </a:lnTo>
                  <a:lnTo>
                    <a:pt x="112" y="72"/>
                  </a:lnTo>
                  <a:lnTo>
                    <a:pt x="114" y="76"/>
                  </a:lnTo>
                  <a:lnTo>
                    <a:pt x="124" y="74"/>
                  </a:lnTo>
                  <a:lnTo>
                    <a:pt x="128" y="76"/>
                  </a:lnTo>
                  <a:lnTo>
                    <a:pt x="126" y="80"/>
                  </a:lnTo>
                  <a:lnTo>
                    <a:pt x="134" y="86"/>
                  </a:lnTo>
                  <a:lnTo>
                    <a:pt x="136" y="84"/>
                  </a:lnTo>
                  <a:lnTo>
                    <a:pt x="136" y="76"/>
                  </a:lnTo>
                  <a:lnTo>
                    <a:pt x="136" y="72"/>
                  </a:lnTo>
                  <a:lnTo>
                    <a:pt x="130" y="70"/>
                  </a:lnTo>
                  <a:lnTo>
                    <a:pt x="134" y="64"/>
                  </a:lnTo>
                  <a:lnTo>
                    <a:pt x="124" y="48"/>
                  </a:lnTo>
                  <a:lnTo>
                    <a:pt x="130" y="42"/>
                  </a:lnTo>
                  <a:lnTo>
                    <a:pt x="148" y="34"/>
                  </a:lnTo>
                  <a:lnTo>
                    <a:pt x="150" y="30"/>
                  </a:lnTo>
                  <a:lnTo>
                    <a:pt x="150" y="22"/>
                  </a:lnTo>
                  <a:lnTo>
                    <a:pt x="154" y="20"/>
                  </a:lnTo>
                  <a:lnTo>
                    <a:pt x="160" y="26"/>
                  </a:lnTo>
                  <a:lnTo>
                    <a:pt x="172" y="18"/>
                  </a:lnTo>
                  <a:lnTo>
                    <a:pt x="174" y="18"/>
                  </a:lnTo>
                  <a:lnTo>
                    <a:pt x="182" y="22"/>
                  </a:lnTo>
                  <a:lnTo>
                    <a:pt x="190" y="24"/>
                  </a:lnTo>
                  <a:lnTo>
                    <a:pt x="200" y="20"/>
                  </a:lnTo>
                  <a:lnTo>
                    <a:pt x="212" y="0"/>
                  </a:lnTo>
                  <a:lnTo>
                    <a:pt x="236" y="8"/>
                  </a:lnTo>
                  <a:lnTo>
                    <a:pt x="254" y="14"/>
                  </a:lnTo>
                  <a:lnTo>
                    <a:pt x="278" y="10"/>
                  </a:lnTo>
                  <a:lnTo>
                    <a:pt x="286" y="16"/>
                  </a:lnTo>
                  <a:lnTo>
                    <a:pt x="288" y="18"/>
                  </a:lnTo>
                  <a:lnTo>
                    <a:pt x="288" y="20"/>
                  </a:lnTo>
                  <a:lnTo>
                    <a:pt x="286" y="36"/>
                  </a:lnTo>
                  <a:lnTo>
                    <a:pt x="290" y="42"/>
                  </a:lnTo>
                  <a:lnTo>
                    <a:pt x="302" y="56"/>
                  </a:lnTo>
                  <a:lnTo>
                    <a:pt x="292" y="64"/>
                  </a:lnTo>
                  <a:lnTo>
                    <a:pt x="292" y="74"/>
                  </a:lnTo>
                  <a:lnTo>
                    <a:pt x="280" y="74"/>
                  </a:lnTo>
                  <a:lnTo>
                    <a:pt x="276" y="72"/>
                  </a:lnTo>
                  <a:lnTo>
                    <a:pt x="270" y="72"/>
                  </a:lnTo>
                  <a:lnTo>
                    <a:pt x="266" y="76"/>
                  </a:lnTo>
                  <a:lnTo>
                    <a:pt x="274" y="78"/>
                  </a:lnTo>
                  <a:lnTo>
                    <a:pt x="276" y="82"/>
                  </a:lnTo>
                  <a:lnTo>
                    <a:pt x="274" y="88"/>
                  </a:lnTo>
                  <a:lnTo>
                    <a:pt x="268" y="90"/>
                  </a:lnTo>
                  <a:lnTo>
                    <a:pt x="266" y="100"/>
                  </a:lnTo>
                  <a:lnTo>
                    <a:pt x="270" y="104"/>
                  </a:lnTo>
                  <a:lnTo>
                    <a:pt x="268" y="112"/>
                  </a:lnTo>
                  <a:lnTo>
                    <a:pt x="262" y="120"/>
                  </a:lnTo>
                  <a:lnTo>
                    <a:pt x="250" y="124"/>
                  </a:lnTo>
                  <a:lnTo>
                    <a:pt x="250" y="132"/>
                  </a:lnTo>
                  <a:lnTo>
                    <a:pt x="236" y="130"/>
                  </a:lnTo>
                  <a:lnTo>
                    <a:pt x="230" y="136"/>
                  </a:lnTo>
                  <a:lnTo>
                    <a:pt x="216" y="132"/>
                  </a:lnTo>
                  <a:lnTo>
                    <a:pt x="206" y="136"/>
                  </a:lnTo>
                  <a:lnTo>
                    <a:pt x="194" y="148"/>
                  </a:lnTo>
                  <a:lnTo>
                    <a:pt x="190" y="144"/>
                  </a:lnTo>
                  <a:lnTo>
                    <a:pt x="180" y="144"/>
                  </a:lnTo>
                  <a:lnTo>
                    <a:pt x="176" y="142"/>
                  </a:lnTo>
                  <a:lnTo>
                    <a:pt x="158" y="140"/>
                  </a:lnTo>
                  <a:lnTo>
                    <a:pt x="150" y="138"/>
                  </a:lnTo>
                  <a:lnTo>
                    <a:pt x="134" y="136"/>
                  </a:lnTo>
                  <a:lnTo>
                    <a:pt x="112" y="130"/>
                  </a:lnTo>
                  <a:lnTo>
                    <a:pt x="106" y="120"/>
                  </a:lnTo>
                  <a:lnTo>
                    <a:pt x="100" y="116"/>
                  </a:lnTo>
                  <a:lnTo>
                    <a:pt x="100" y="108"/>
                  </a:lnTo>
                  <a:lnTo>
                    <a:pt x="86" y="114"/>
                  </a:lnTo>
                  <a:lnTo>
                    <a:pt x="80" y="110"/>
                  </a:lnTo>
                  <a:lnTo>
                    <a:pt x="72" y="114"/>
                  </a:lnTo>
                  <a:lnTo>
                    <a:pt x="70" y="112"/>
                  </a:lnTo>
                  <a:lnTo>
                    <a:pt x="64" y="114"/>
                  </a:lnTo>
                  <a:lnTo>
                    <a:pt x="58" y="124"/>
                  </a:lnTo>
                  <a:lnTo>
                    <a:pt x="48" y="124"/>
                  </a:lnTo>
                  <a:lnTo>
                    <a:pt x="36" y="120"/>
                  </a:lnTo>
                  <a:lnTo>
                    <a:pt x="36" y="114"/>
                  </a:lnTo>
                  <a:lnTo>
                    <a:pt x="34" y="112"/>
                  </a:lnTo>
                  <a:lnTo>
                    <a:pt x="24" y="120"/>
                  </a:lnTo>
                  <a:lnTo>
                    <a:pt x="14" y="114"/>
                  </a:lnTo>
                  <a:lnTo>
                    <a:pt x="14" y="110"/>
                  </a:lnTo>
                  <a:lnTo>
                    <a:pt x="2" y="108"/>
                  </a:lnTo>
                  <a:lnTo>
                    <a:pt x="4" y="104"/>
                  </a:lnTo>
                  <a:lnTo>
                    <a:pt x="0" y="96"/>
                  </a:lnTo>
                  <a:lnTo>
                    <a:pt x="4" y="90"/>
                  </a:lnTo>
                  <a:lnTo>
                    <a:pt x="2" y="80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1" name="Freeform 29">
              <a:extLst>
                <a:ext uri="{FF2B5EF4-FFF2-40B4-BE49-F238E27FC236}">
                  <a16:creationId xmlns:a16="http://schemas.microsoft.com/office/drawing/2014/main" id="{F9A3DFBB-21EB-45FD-9971-C219F4EC237A}"/>
                </a:ext>
              </a:extLst>
            </p:cNvPr>
            <p:cNvSpPr>
              <a:spLocks/>
            </p:cNvSpPr>
            <p:nvPr/>
          </p:nvSpPr>
          <p:spPr bwMode="gray">
            <a:xfrm>
              <a:off x="5424488" y="4686300"/>
              <a:ext cx="433387" cy="247650"/>
            </a:xfrm>
            <a:custGeom>
              <a:avLst/>
              <a:gdLst>
                <a:gd name="T0" fmla="*/ 387 w 260"/>
                <a:gd name="T1" fmla="*/ 388 h 160"/>
                <a:gd name="T2" fmla="*/ 350 w 260"/>
                <a:gd name="T3" fmla="*/ 403 h 160"/>
                <a:gd name="T4" fmla="*/ 318 w 260"/>
                <a:gd name="T5" fmla="*/ 403 h 160"/>
                <a:gd name="T6" fmla="*/ 270 w 260"/>
                <a:gd name="T7" fmla="*/ 408 h 160"/>
                <a:gd name="T8" fmla="*/ 231 w 260"/>
                <a:gd name="T9" fmla="*/ 403 h 160"/>
                <a:gd name="T10" fmla="*/ 157 w 260"/>
                <a:gd name="T11" fmla="*/ 358 h 160"/>
                <a:gd name="T12" fmla="*/ 57 w 260"/>
                <a:gd name="T13" fmla="*/ 321 h 160"/>
                <a:gd name="T14" fmla="*/ 39 w 260"/>
                <a:gd name="T15" fmla="*/ 306 h 160"/>
                <a:gd name="T16" fmla="*/ 16 w 260"/>
                <a:gd name="T17" fmla="*/ 285 h 160"/>
                <a:gd name="T18" fmla="*/ 0 w 260"/>
                <a:gd name="T19" fmla="*/ 250 h 160"/>
                <a:gd name="T20" fmla="*/ 25 w 260"/>
                <a:gd name="T21" fmla="*/ 229 h 160"/>
                <a:gd name="T22" fmla="*/ 31 w 260"/>
                <a:gd name="T23" fmla="*/ 209 h 160"/>
                <a:gd name="T24" fmla="*/ 16 w 260"/>
                <a:gd name="T25" fmla="*/ 198 h 160"/>
                <a:gd name="T26" fmla="*/ 25 w 260"/>
                <a:gd name="T27" fmla="*/ 172 h 160"/>
                <a:gd name="T28" fmla="*/ 48 w 260"/>
                <a:gd name="T29" fmla="*/ 168 h 160"/>
                <a:gd name="T30" fmla="*/ 57 w 260"/>
                <a:gd name="T31" fmla="*/ 153 h 160"/>
                <a:gd name="T32" fmla="*/ 48 w 260"/>
                <a:gd name="T33" fmla="*/ 143 h 160"/>
                <a:gd name="T34" fmla="*/ 16 w 260"/>
                <a:gd name="T35" fmla="*/ 138 h 160"/>
                <a:gd name="T36" fmla="*/ 31 w 260"/>
                <a:gd name="T37" fmla="*/ 126 h 160"/>
                <a:gd name="T38" fmla="*/ 57 w 260"/>
                <a:gd name="T39" fmla="*/ 126 h 160"/>
                <a:gd name="T40" fmla="*/ 72 w 260"/>
                <a:gd name="T41" fmla="*/ 132 h 160"/>
                <a:gd name="T42" fmla="*/ 118 w 260"/>
                <a:gd name="T43" fmla="*/ 132 h 160"/>
                <a:gd name="T44" fmla="*/ 118 w 260"/>
                <a:gd name="T45" fmla="*/ 106 h 160"/>
                <a:gd name="T46" fmla="*/ 157 w 260"/>
                <a:gd name="T47" fmla="*/ 88 h 160"/>
                <a:gd name="T48" fmla="*/ 172 w 260"/>
                <a:gd name="T49" fmla="*/ 76 h 160"/>
                <a:gd name="T50" fmla="*/ 206 w 260"/>
                <a:gd name="T51" fmla="*/ 88 h 160"/>
                <a:gd name="T52" fmla="*/ 245 w 260"/>
                <a:gd name="T53" fmla="*/ 103 h 160"/>
                <a:gd name="T54" fmla="*/ 278 w 260"/>
                <a:gd name="T55" fmla="*/ 103 h 160"/>
                <a:gd name="T56" fmla="*/ 387 w 260"/>
                <a:gd name="T57" fmla="*/ 106 h 160"/>
                <a:gd name="T58" fmla="*/ 415 w 260"/>
                <a:gd name="T59" fmla="*/ 65 h 160"/>
                <a:gd name="T60" fmla="*/ 428 w 260"/>
                <a:gd name="T61" fmla="*/ 65 h 160"/>
                <a:gd name="T62" fmla="*/ 479 w 260"/>
                <a:gd name="T63" fmla="*/ 56 h 160"/>
                <a:gd name="T64" fmla="*/ 516 w 260"/>
                <a:gd name="T65" fmla="*/ 56 h 160"/>
                <a:gd name="T66" fmla="*/ 553 w 260"/>
                <a:gd name="T67" fmla="*/ 56 h 160"/>
                <a:gd name="T68" fmla="*/ 585 w 260"/>
                <a:gd name="T69" fmla="*/ 56 h 160"/>
                <a:gd name="T70" fmla="*/ 658 w 260"/>
                <a:gd name="T71" fmla="*/ 2 h 160"/>
                <a:gd name="T72" fmla="*/ 706 w 260"/>
                <a:gd name="T73" fmla="*/ 0 h 160"/>
                <a:gd name="T74" fmla="*/ 779 w 260"/>
                <a:gd name="T75" fmla="*/ 0 h 160"/>
                <a:gd name="T76" fmla="*/ 816 w 260"/>
                <a:gd name="T77" fmla="*/ 21 h 160"/>
                <a:gd name="T78" fmla="*/ 841 w 260"/>
                <a:gd name="T79" fmla="*/ 30 h 160"/>
                <a:gd name="T80" fmla="*/ 888 w 260"/>
                <a:gd name="T81" fmla="*/ 26 h 160"/>
                <a:gd name="T82" fmla="*/ 894 w 260"/>
                <a:gd name="T83" fmla="*/ 26 h 160"/>
                <a:gd name="T84" fmla="*/ 941 w 260"/>
                <a:gd name="T85" fmla="*/ 47 h 160"/>
                <a:gd name="T86" fmla="*/ 981 w 260"/>
                <a:gd name="T87" fmla="*/ 63 h 160"/>
                <a:gd name="T88" fmla="*/ 1028 w 260"/>
                <a:gd name="T89" fmla="*/ 88 h 160"/>
                <a:gd name="T90" fmla="*/ 999 w 260"/>
                <a:gd name="T91" fmla="*/ 106 h 160"/>
                <a:gd name="T92" fmla="*/ 919 w 260"/>
                <a:gd name="T93" fmla="*/ 122 h 160"/>
                <a:gd name="T94" fmla="*/ 878 w 260"/>
                <a:gd name="T95" fmla="*/ 153 h 160"/>
                <a:gd name="T96" fmla="*/ 816 w 260"/>
                <a:gd name="T97" fmla="*/ 244 h 160"/>
                <a:gd name="T98" fmla="*/ 767 w 260"/>
                <a:gd name="T99" fmla="*/ 300 h 160"/>
                <a:gd name="T100" fmla="*/ 719 w 260"/>
                <a:gd name="T101" fmla="*/ 334 h 160"/>
                <a:gd name="T102" fmla="*/ 696 w 260"/>
                <a:gd name="T103" fmla="*/ 347 h 160"/>
                <a:gd name="T104" fmla="*/ 643 w 260"/>
                <a:gd name="T105" fmla="*/ 347 h 160"/>
                <a:gd name="T106" fmla="*/ 625 w 260"/>
                <a:gd name="T107" fmla="*/ 358 h 160"/>
                <a:gd name="T108" fmla="*/ 610 w 260"/>
                <a:gd name="T109" fmla="*/ 358 h 160"/>
                <a:gd name="T110" fmla="*/ 553 w 260"/>
                <a:gd name="T111" fmla="*/ 351 h 160"/>
                <a:gd name="T112" fmla="*/ 492 w 260"/>
                <a:gd name="T113" fmla="*/ 358 h 160"/>
                <a:gd name="T114" fmla="*/ 387 w 260"/>
                <a:gd name="T115" fmla="*/ 388 h 160"/>
                <a:gd name="T116" fmla="*/ 387 w 260"/>
                <a:gd name="T117" fmla="*/ 388 h 16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60"/>
                <a:gd name="T178" fmla="*/ 0 h 160"/>
                <a:gd name="T179" fmla="*/ 260 w 260"/>
                <a:gd name="T180" fmla="*/ 160 h 16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60" h="160">
                  <a:moveTo>
                    <a:pt x="98" y="152"/>
                  </a:moveTo>
                  <a:lnTo>
                    <a:pt x="88" y="158"/>
                  </a:lnTo>
                  <a:lnTo>
                    <a:pt x="80" y="158"/>
                  </a:lnTo>
                  <a:lnTo>
                    <a:pt x="68" y="160"/>
                  </a:lnTo>
                  <a:lnTo>
                    <a:pt x="58" y="158"/>
                  </a:lnTo>
                  <a:lnTo>
                    <a:pt x="40" y="140"/>
                  </a:lnTo>
                  <a:lnTo>
                    <a:pt x="14" y="126"/>
                  </a:lnTo>
                  <a:lnTo>
                    <a:pt x="10" y="120"/>
                  </a:lnTo>
                  <a:lnTo>
                    <a:pt x="4" y="112"/>
                  </a:lnTo>
                  <a:lnTo>
                    <a:pt x="0" y="98"/>
                  </a:lnTo>
                  <a:lnTo>
                    <a:pt x="6" y="90"/>
                  </a:lnTo>
                  <a:lnTo>
                    <a:pt x="8" y="82"/>
                  </a:lnTo>
                  <a:lnTo>
                    <a:pt x="4" y="78"/>
                  </a:lnTo>
                  <a:lnTo>
                    <a:pt x="6" y="68"/>
                  </a:lnTo>
                  <a:lnTo>
                    <a:pt x="12" y="66"/>
                  </a:lnTo>
                  <a:lnTo>
                    <a:pt x="14" y="60"/>
                  </a:lnTo>
                  <a:lnTo>
                    <a:pt x="12" y="56"/>
                  </a:lnTo>
                  <a:lnTo>
                    <a:pt x="4" y="54"/>
                  </a:lnTo>
                  <a:lnTo>
                    <a:pt x="8" y="50"/>
                  </a:lnTo>
                  <a:lnTo>
                    <a:pt x="14" y="50"/>
                  </a:lnTo>
                  <a:lnTo>
                    <a:pt x="18" y="52"/>
                  </a:lnTo>
                  <a:lnTo>
                    <a:pt x="30" y="52"/>
                  </a:lnTo>
                  <a:lnTo>
                    <a:pt x="30" y="42"/>
                  </a:lnTo>
                  <a:lnTo>
                    <a:pt x="40" y="34"/>
                  </a:lnTo>
                  <a:lnTo>
                    <a:pt x="44" y="30"/>
                  </a:lnTo>
                  <a:lnTo>
                    <a:pt x="52" y="34"/>
                  </a:lnTo>
                  <a:lnTo>
                    <a:pt x="62" y="40"/>
                  </a:lnTo>
                  <a:lnTo>
                    <a:pt x="70" y="40"/>
                  </a:lnTo>
                  <a:lnTo>
                    <a:pt x="98" y="42"/>
                  </a:lnTo>
                  <a:lnTo>
                    <a:pt x="104" y="26"/>
                  </a:lnTo>
                  <a:lnTo>
                    <a:pt x="108" y="26"/>
                  </a:lnTo>
                  <a:lnTo>
                    <a:pt x="122" y="22"/>
                  </a:lnTo>
                  <a:lnTo>
                    <a:pt x="130" y="22"/>
                  </a:lnTo>
                  <a:lnTo>
                    <a:pt x="140" y="22"/>
                  </a:lnTo>
                  <a:lnTo>
                    <a:pt x="148" y="22"/>
                  </a:lnTo>
                  <a:lnTo>
                    <a:pt x="166" y="2"/>
                  </a:lnTo>
                  <a:lnTo>
                    <a:pt x="178" y="0"/>
                  </a:lnTo>
                  <a:lnTo>
                    <a:pt x="196" y="0"/>
                  </a:lnTo>
                  <a:lnTo>
                    <a:pt x="206" y="8"/>
                  </a:lnTo>
                  <a:lnTo>
                    <a:pt x="212" y="12"/>
                  </a:lnTo>
                  <a:lnTo>
                    <a:pt x="224" y="10"/>
                  </a:lnTo>
                  <a:lnTo>
                    <a:pt x="226" y="10"/>
                  </a:lnTo>
                  <a:lnTo>
                    <a:pt x="238" y="18"/>
                  </a:lnTo>
                  <a:lnTo>
                    <a:pt x="248" y="24"/>
                  </a:lnTo>
                  <a:lnTo>
                    <a:pt x="260" y="34"/>
                  </a:lnTo>
                  <a:lnTo>
                    <a:pt x="252" y="42"/>
                  </a:lnTo>
                  <a:lnTo>
                    <a:pt x="232" y="48"/>
                  </a:lnTo>
                  <a:lnTo>
                    <a:pt x="222" y="60"/>
                  </a:lnTo>
                  <a:lnTo>
                    <a:pt x="206" y="96"/>
                  </a:lnTo>
                  <a:lnTo>
                    <a:pt x="194" y="118"/>
                  </a:lnTo>
                  <a:lnTo>
                    <a:pt x="182" y="132"/>
                  </a:lnTo>
                  <a:lnTo>
                    <a:pt x="176" y="136"/>
                  </a:lnTo>
                  <a:lnTo>
                    <a:pt x="162" y="136"/>
                  </a:lnTo>
                  <a:lnTo>
                    <a:pt x="158" y="140"/>
                  </a:lnTo>
                  <a:lnTo>
                    <a:pt x="154" y="140"/>
                  </a:lnTo>
                  <a:lnTo>
                    <a:pt x="140" y="138"/>
                  </a:lnTo>
                  <a:lnTo>
                    <a:pt x="124" y="140"/>
                  </a:lnTo>
                  <a:lnTo>
                    <a:pt x="98" y="152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4943356C-E3CE-428E-A0C8-8E91B3D5BB79}"/>
                </a:ext>
              </a:extLst>
            </p:cNvPr>
            <p:cNvSpPr>
              <a:spLocks/>
            </p:cNvSpPr>
            <p:nvPr/>
          </p:nvSpPr>
          <p:spPr bwMode="gray">
            <a:xfrm>
              <a:off x="5683250" y="4713288"/>
              <a:ext cx="600075" cy="387350"/>
            </a:xfrm>
            <a:custGeom>
              <a:avLst/>
              <a:gdLst>
                <a:gd name="T0" fmla="*/ 16 w 362"/>
                <a:gd name="T1" fmla="*/ 318 h 250"/>
                <a:gd name="T2" fmla="*/ 86 w 362"/>
                <a:gd name="T3" fmla="*/ 306 h 250"/>
                <a:gd name="T4" fmla="*/ 155 w 362"/>
                <a:gd name="T5" fmla="*/ 260 h 250"/>
                <a:gd name="T6" fmla="*/ 260 w 362"/>
                <a:gd name="T7" fmla="*/ 109 h 250"/>
                <a:gd name="T8" fmla="*/ 379 w 362"/>
                <a:gd name="T9" fmla="*/ 63 h 250"/>
                <a:gd name="T10" fmla="*/ 413 w 362"/>
                <a:gd name="T11" fmla="*/ 35 h 250"/>
                <a:gd name="T12" fmla="*/ 486 w 362"/>
                <a:gd name="T13" fmla="*/ 35 h 250"/>
                <a:gd name="T14" fmla="*/ 623 w 362"/>
                <a:gd name="T15" fmla="*/ 53 h 250"/>
                <a:gd name="T16" fmla="*/ 646 w 362"/>
                <a:gd name="T17" fmla="*/ 66 h 250"/>
                <a:gd name="T18" fmla="*/ 673 w 362"/>
                <a:gd name="T19" fmla="*/ 77 h 250"/>
                <a:gd name="T20" fmla="*/ 716 w 362"/>
                <a:gd name="T21" fmla="*/ 66 h 250"/>
                <a:gd name="T22" fmla="*/ 858 w 362"/>
                <a:gd name="T23" fmla="*/ 41 h 250"/>
                <a:gd name="T24" fmla="*/ 890 w 362"/>
                <a:gd name="T25" fmla="*/ 2 h 250"/>
                <a:gd name="T26" fmla="*/ 945 w 362"/>
                <a:gd name="T27" fmla="*/ 0 h 250"/>
                <a:gd name="T28" fmla="*/ 1036 w 362"/>
                <a:gd name="T29" fmla="*/ 93 h 250"/>
                <a:gd name="T30" fmla="*/ 1151 w 362"/>
                <a:gd name="T31" fmla="*/ 185 h 250"/>
                <a:gd name="T32" fmla="*/ 1169 w 362"/>
                <a:gd name="T33" fmla="*/ 265 h 250"/>
                <a:gd name="T34" fmla="*/ 1160 w 362"/>
                <a:gd name="T35" fmla="*/ 368 h 250"/>
                <a:gd name="T36" fmla="*/ 1145 w 362"/>
                <a:gd name="T37" fmla="*/ 388 h 250"/>
                <a:gd name="T38" fmla="*/ 1169 w 362"/>
                <a:gd name="T39" fmla="*/ 409 h 250"/>
                <a:gd name="T40" fmla="*/ 1175 w 362"/>
                <a:gd name="T41" fmla="*/ 409 h 250"/>
                <a:gd name="T42" fmla="*/ 1210 w 362"/>
                <a:gd name="T43" fmla="*/ 437 h 250"/>
                <a:gd name="T44" fmla="*/ 1253 w 362"/>
                <a:gd name="T45" fmla="*/ 424 h 250"/>
                <a:gd name="T46" fmla="*/ 1328 w 362"/>
                <a:gd name="T47" fmla="*/ 409 h 250"/>
                <a:gd name="T48" fmla="*/ 1382 w 362"/>
                <a:gd name="T49" fmla="*/ 421 h 250"/>
                <a:gd name="T50" fmla="*/ 1365 w 362"/>
                <a:gd name="T51" fmla="*/ 465 h 250"/>
                <a:gd name="T52" fmla="*/ 1319 w 362"/>
                <a:gd name="T53" fmla="*/ 493 h 250"/>
                <a:gd name="T54" fmla="*/ 1271 w 362"/>
                <a:gd name="T55" fmla="*/ 509 h 250"/>
                <a:gd name="T56" fmla="*/ 1221 w 362"/>
                <a:gd name="T57" fmla="*/ 586 h 250"/>
                <a:gd name="T58" fmla="*/ 1210 w 362"/>
                <a:gd name="T59" fmla="*/ 647 h 250"/>
                <a:gd name="T60" fmla="*/ 1074 w 362"/>
                <a:gd name="T61" fmla="*/ 621 h 250"/>
                <a:gd name="T62" fmla="*/ 1022 w 362"/>
                <a:gd name="T63" fmla="*/ 606 h 250"/>
                <a:gd name="T64" fmla="*/ 945 w 362"/>
                <a:gd name="T65" fmla="*/ 581 h 250"/>
                <a:gd name="T66" fmla="*/ 778 w 362"/>
                <a:gd name="T67" fmla="*/ 645 h 250"/>
                <a:gd name="T68" fmla="*/ 661 w 362"/>
                <a:gd name="T69" fmla="*/ 621 h 250"/>
                <a:gd name="T70" fmla="*/ 593 w 362"/>
                <a:gd name="T71" fmla="*/ 638 h 250"/>
                <a:gd name="T72" fmla="*/ 491 w 362"/>
                <a:gd name="T73" fmla="*/ 616 h 250"/>
                <a:gd name="T74" fmla="*/ 407 w 362"/>
                <a:gd name="T75" fmla="*/ 628 h 250"/>
                <a:gd name="T76" fmla="*/ 392 w 362"/>
                <a:gd name="T77" fmla="*/ 616 h 250"/>
                <a:gd name="T78" fmla="*/ 382 w 362"/>
                <a:gd name="T79" fmla="*/ 591 h 250"/>
                <a:gd name="T80" fmla="*/ 322 w 362"/>
                <a:gd name="T81" fmla="*/ 564 h 250"/>
                <a:gd name="T82" fmla="*/ 338 w 362"/>
                <a:gd name="T83" fmla="*/ 533 h 250"/>
                <a:gd name="T84" fmla="*/ 353 w 362"/>
                <a:gd name="T85" fmla="*/ 527 h 250"/>
                <a:gd name="T86" fmla="*/ 303 w 362"/>
                <a:gd name="T87" fmla="*/ 517 h 250"/>
                <a:gd name="T88" fmla="*/ 275 w 362"/>
                <a:gd name="T89" fmla="*/ 544 h 250"/>
                <a:gd name="T90" fmla="*/ 232 w 362"/>
                <a:gd name="T91" fmla="*/ 517 h 250"/>
                <a:gd name="T92" fmla="*/ 194 w 362"/>
                <a:gd name="T93" fmla="*/ 503 h 250"/>
                <a:gd name="T94" fmla="*/ 163 w 362"/>
                <a:gd name="T95" fmla="*/ 503 h 250"/>
                <a:gd name="T96" fmla="*/ 169 w 362"/>
                <a:gd name="T97" fmla="*/ 486 h 250"/>
                <a:gd name="T98" fmla="*/ 169 w 362"/>
                <a:gd name="T99" fmla="*/ 478 h 250"/>
                <a:gd name="T100" fmla="*/ 169 w 362"/>
                <a:gd name="T101" fmla="*/ 462 h 250"/>
                <a:gd name="T102" fmla="*/ 179 w 362"/>
                <a:gd name="T103" fmla="*/ 448 h 250"/>
                <a:gd name="T104" fmla="*/ 118 w 362"/>
                <a:gd name="T105" fmla="*/ 431 h 250"/>
                <a:gd name="T106" fmla="*/ 76 w 362"/>
                <a:gd name="T107" fmla="*/ 394 h 250"/>
                <a:gd name="T108" fmla="*/ 70 w 362"/>
                <a:gd name="T109" fmla="*/ 362 h 250"/>
                <a:gd name="T110" fmla="*/ 48 w 362"/>
                <a:gd name="T111" fmla="*/ 348 h 250"/>
                <a:gd name="T112" fmla="*/ 0 w 362"/>
                <a:gd name="T113" fmla="*/ 318 h 25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62"/>
                <a:gd name="T172" fmla="*/ 0 h 250"/>
                <a:gd name="T173" fmla="*/ 362 w 362"/>
                <a:gd name="T174" fmla="*/ 250 h 25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62" h="250">
                  <a:moveTo>
                    <a:pt x="0" y="122"/>
                  </a:moveTo>
                  <a:lnTo>
                    <a:pt x="4" y="122"/>
                  </a:lnTo>
                  <a:lnTo>
                    <a:pt x="8" y="118"/>
                  </a:lnTo>
                  <a:lnTo>
                    <a:pt x="22" y="118"/>
                  </a:lnTo>
                  <a:lnTo>
                    <a:pt x="28" y="114"/>
                  </a:lnTo>
                  <a:lnTo>
                    <a:pt x="40" y="100"/>
                  </a:lnTo>
                  <a:lnTo>
                    <a:pt x="52" y="78"/>
                  </a:lnTo>
                  <a:lnTo>
                    <a:pt x="68" y="42"/>
                  </a:lnTo>
                  <a:lnTo>
                    <a:pt x="78" y="30"/>
                  </a:lnTo>
                  <a:lnTo>
                    <a:pt x="98" y="24"/>
                  </a:lnTo>
                  <a:lnTo>
                    <a:pt x="106" y="16"/>
                  </a:lnTo>
                  <a:lnTo>
                    <a:pt x="108" y="14"/>
                  </a:lnTo>
                  <a:lnTo>
                    <a:pt x="120" y="16"/>
                  </a:lnTo>
                  <a:lnTo>
                    <a:pt x="126" y="14"/>
                  </a:lnTo>
                  <a:lnTo>
                    <a:pt x="142" y="18"/>
                  </a:lnTo>
                  <a:lnTo>
                    <a:pt x="162" y="20"/>
                  </a:lnTo>
                  <a:lnTo>
                    <a:pt x="168" y="18"/>
                  </a:lnTo>
                  <a:lnTo>
                    <a:pt x="168" y="26"/>
                  </a:lnTo>
                  <a:lnTo>
                    <a:pt x="174" y="26"/>
                  </a:lnTo>
                  <a:lnTo>
                    <a:pt x="176" y="30"/>
                  </a:lnTo>
                  <a:lnTo>
                    <a:pt x="182" y="30"/>
                  </a:lnTo>
                  <a:lnTo>
                    <a:pt x="186" y="26"/>
                  </a:lnTo>
                  <a:lnTo>
                    <a:pt x="190" y="20"/>
                  </a:lnTo>
                  <a:lnTo>
                    <a:pt x="224" y="16"/>
                  </a:lnTo>
                  <a:lnTo>
                    <a:pt x="230" y="12"/>
                  </a:lnTo>
                  <a:lnTo>
                    <a:pt x="232" y="2"/>
                  </a:lnTo>
                  <a:lnTo>
                    <a:pt x="242" y="2"/>
                  </a:lnTo>
                  <a:lnTo>
                    <a:pt x="246" y="0"/>
                  </a:lnTo>
                  <a:lnTo>
                    <a:pt x="258" y="4"/>
                  </a:lnTo>
                  <a:lnTo>
                    <a:pt x="270" y="36"/>
                  </a:lnTo>
                  <a:lnTo>
                    <a:pt x="288" y="64"/>
                  </a:lnTo>
                  <a:lnTo>
                    <a:pt x="300" y="72"/>
                  </a:lnTo>
                  <a:lnTo>
                    <a:pt x="306" y="92"/>
                  </a:lnTo>
                  <a:lnTo>
                    <a:pt x="304" y="102"/>
                  </a:lnTo>
                  <a:lnTo>
                    <a:pt x="300" y="128"/>
                  </a:lnTo>
                  <a:lnTo>
                    <a:pt x="302" y="142"/>
                  </a:lnTo>
                  <a:lnTo>
                    <a:pt x="302" y="148"/>
                  </a:lnTo>
                  <a:lnTo>
                    <a:pt x="298" y="150"/>
                  </a:lnTo>
                  <a:lnTo>
                    <a:pt x="302" y="152"/>
                  </a:lnTo>
                  <a:lnTo>
                    <a:pt x="304" y="158"/>
                  </a:lnTo>
                  <a:lnTo>
                    <a:pt x="306" y="158"/>
                  </a:lnTo>
                  <a:lnTo>
                    <a:pt x="308" y="164"/>
                  </a:lnTo>
                  <a:lnTo>
                    <a:pt x="316" y="168"/>
                  </a:lnTo>
                  <a:lnTo>
                    <a:pt x="326" y="170"/>
                  </a:lnTo>
                  <a:lnTo>
                    <a:pt x="326" y="164"/>
                  </a:lnTo>
                  <a:lnTo>
                    <a:pt x="334" y="164"/>
                  </a:lnTo>
                  <a:lnTo>
                    <a:pt x="346" y="158"/>
                  </a:lnTo>
                  <a:lnTo>
                    <a:pt x="358" y="160"/>
                  </a:lnTo>
                  <a:lnTo>
                    <a:pt x="360" y="162"/>
                  </a:lnTo>
                  <a:lnTo>
                    <a:pt x="362" y="170"/>
                  </a:lnTo>
                  <a:lnTo>
                    <a:pt x="356" y="180"/>
                  </a:lnTo>
                  <a:lnTo>
                    <a:pt x="352" y="188"/>
                  </a:lnTo>
                  <a:lnTo>
                    <a:pt x="344" y="190"/>
                  </a:lnTo>
                  <a:lnTo>
                    <a:pt x="338" y="190"/>
                  </a:lnTo>
                  <a:lnTo>
                    <a:pt x="332" y="196"/>
                  </a:lnTo>
                  <a:lnTo>
                    <a:pt x="322" y="210"/>
                  </a:lnTo>
                  <a:lnTo>
                    <a:pt x="318" y="226"/>
                  </a:lnTo>
                  <a:lnTo>
                    <a:pt x="316" y="246"/>
                  </a:lnTo>
                  <a:lnTo>
                    <a:pt x="316" y="250"/>
                  </a:lnTo>
                  <a:lnTo>
                    <a:pt x="304" y="248"/>
                  </a:lnTo>
                  <a:lnTo>
                    <a:pt x="280" y="240"/>
                  </a:lnTo>
                  <a:lnTo>
                    <a:pt x="272" y="234"/>
                  </a:lnTo>
                  <a:lnTo>
                    <a:pt x="266" y="234"/>
                  </a:lnTo>
                  <a:lnTo>
                    <a:pt x="256" y="224"/>
                  </a:lnTo>
                  <a:lnTo>
                    <a:pt x="246" y="224"/>
                  </a:lnTo>
                  <a:lnTo>
                    <a:pt x="234" y="230"/>
                  </a:lnTo>
                  <a:lnTo>
                    <a:pt x="202" y="248"/>
                  </a:lnTo>
                  <a:lnTo>
                    <a:pt x="196" y="248"/>
                  </a:lnTo>
                  <a:lnTo>
                    <a:pt x="172" y="240"/>
                  </a:lnTo>
                  <a:lnTo>
                    <a:pt x="166" y="240"/>
                  </a:lnTo>
                  <a:lnTo>
                    <a:pt x="154" y="246"/>
                  </a:lnTo>
                  <a:lnTo>
                    <a:pt x="148" y="248"/>
                  </a:lnTo>
                  <a:lnTo>
                    <a:pt x="128" y="238"/>
                  </a:lnTo>
                  <a:lnTo>
                    <a:pt x="120" y="238"/>
                  </a:lnTo>
                  <a:lnTo>
                    <a:pt x="106" y="242"/>
                  </a:lnTo>
                  <a:lnTo>
                    <a:pt x="102" y="242"/>
                  </a:lnTo>
                  <a:lnTo>
                    <a:pt x="102" y="238"/>
                  </a:lnTo>
                  <a:lnTo>
                    <a:pt x="106" y="230"/>
                  </a:lnTo>
                  <a:lnTo>
                    <a:pt x="100" y="228"/>
                  </a:lnTo>
                  <a:lnTo>
                    <a:pt x="92" y="224"/>
                  </a:lnTo>
                  <a:lnTo>
                    <a:pt x="84" y="218"/>
                  </a:lnTo>
                  <a:lnTo>
                    <a:pt x="82" y="210"/>
                  </a:lnTo>
                  <a:lnTo>
                    <a:pt x="88" y="206"/>
                  </a:lnTo>
                  <a:lnTo>
                    <a:pt x="94" y="206"/>
                  </a:lnTo>
                  <a:lnTo>
                    <a:pt x="92" y="204"/>
                  </a:lnTo>
                  <a:lnTo>
                    <a:pt x="82" y="196"/>
                  </a:lnTo>
                  <a:lnTo>
                    <a:pt x="78" y="200"/>
                  </a:lnTo>
                  <a:lnTo>
                    <a:pt x="74" y="206"/>
                  </a:lnTo>
                  <a:lnTo>
                    <a:pt x="72" y="210"/>
                  </a:lnTo>
                  <a:lnTo>
                    <a:pt x="64" y="204"/>
                  </a:lnTo>
                  <a:lnTo>
                    <a:pt x="60" y="200"/>
                  </a:lnTo>
                  <a:lnTo>
                    <a:pt x="50" y="200"/>
                  </a:lnTo>
                  <a:lnTo>
                    <a:pt x="50" y="194"/>
                  </a:lnTo>
                  <a:lnTo>
                    <a:pt x="46" y="194"/>
                  </a:lnTo>
                  <a:lnTo>
                    <a:pt x="42" y="194"/>
                  </a:lnTo>
                  <a:lnTo>
                    <a:pt x="40" y="190"/>
                  </a:lnTo>
                  <a:lnTo>
                    <a:pt x="44" y="188"/>
                  </a:lnTo>
                  <a:lnTo>
                    <a:pt x="48" y="186"/>
                  </a:lnTo>
                  <a:lnTo>
                    <a:pt x="44" y="184"/>
                  </a:lnTo>
                  <a:lnTo>
                    <a:pt x="40" y="182"/>
                  </a:lnTo>
                  <a:lnTo>
                    <a:pt x="44" y="178"/>
                  </a:lnTo>
                  <a:lnTo>
                    <a:pt x="46" y="176"/>
                  </a:lnTo>
                  <a:lnTo>
                    <a:pt x="46" y="172"/>
                  </a:lnTo>
                  <a:lnTo>
                    <a:pt x="40" y="170"/>
                  </a:lnTo>
                  <a:lnTo>
                    <a:pt x="30" y="166"/>
                  </a:lnTo>
                  <a:lnTo>
                    <a:pt x="18" y="154"/>
                  </a:lnTo>
                  <a:lnTo>
                    <a:pt x="20" y="152"/>
                  </a:lnTo>
                  <a:lnTo>
                    <a:pt x="18" y="148"/>
                  </a:lnTo>
                  <a:lnTo>
                    <a:pt x="18" y="140"/>
                  </a:lnTo>
                  <a:lnTo>
                    <a:pt x="14" y="140"/>
                  </a:lnTo>
                  <a:lnTo>
                    <a:pt x="12" y="134"/>
                  </a:lnTo>
                  <a:lnTo>
                    <a:pt x="2" y="130"/>
                  </a:lnTo>
                  <a:lnTo>
                    <a:pt x="0" y="122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3BEC4219-FF6B-4887-903D-5408DC1B0892}"/>
              </a:ext>
            </a:extLst>
          </p:cNvPr>
          <p:cNvCxnSpPr/>
          <p:nvPr/>
        </p:nvCxnSpPr>
        <p:spPr>
          <a:xfrm flipH="1" flipV="1">
            <a:off x="3078135" y="1846737"/>
            <a:ext cx="208663" cy="216024"/>
          </a:xfrm>
          <a:prstGeom prst="straightConnector1">
            <a:avLst/>
          </a:prstGeom>
          <a:ln w="28575">
            <a:solidFill>
              <a:srgbClr val="0066A9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84B488A3-4979-468E-B32C-E9EBD7AF52B5}"/>
              </a:ext>
            </a:extLst>
          </p:cNvPr>
          <p:cNvCxnSpPr/>
          <p:nvPr/>
        </p:nvCxnSpPr>
        <p:spPr>
          <a:xfrm flipH="1" flipV="1">
            <a:off x="2811406" y="1562910"/>
            <a:ext cx="208663" cy="216024"/>
          </a:xfrm>
          <a:prstGeom prst="straightConnector1">
            <a:avLst/>
          </a:prstGeom>
          <a:ln w="28575">
            <a:solidFill>
              <a:srgbClr val="0066A9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4">
            <a:extLst>
              <a:ext uri="{FF2B5EF4-FFF2-40B4-BE49-F238E27FC236}">
                <a16:creationId xmlns:a16="http://schemas.microsoft.com/office/drawing/2014/main" id="{EB67EAA0-389D-462A-A38C-AA54FD83B11E}"/>
              </a:ext>
            </a:extLst>
          </p:cNvPr>
          <p:cNvSpPr txBox="1"/>
          <p:nvPr/>
        </p:nvSpPr>
        <p:spPr>
          <a:xfrm>
            <a:off x="3350660" y="2129109"/>
            <a:ext cx="1233030" cy="70788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de-DE" sz="1000" b="1" i="1" dirty="0"/>
              <a:t>Exit</a:t>
            </a:r>
          </a:p>
          <a:p>
            <a:r>
              <a:rPr lang="de-DE" sz="1000" b="1" dirty="0"/>
              <a:t>  </a:t>
            </a:r>
            <a:r>
              <a:rPr lang="de-DE" sz="1000" b="1" dirty="0">
                <a:solidFill>
                  <a:srgbClr val="0066AA"/>
                </a:solidFill>
              </a:rPr>
              <a:t>631,25 HUF/kWh/h/y</a:t>
            </a:r>
          </a:p>
          <a:p>
            <a:r>
              <a:rPr lang="de-DE" sz="1000" b="1" dirty="0">
                <a:solidFill>
                  <a:srgbClr val="FF0000"/>
                </a:solidFill>
              </a:rPr>
              <a:t>6451,64 HUF/kWh/h/y</a:t>
            </a:r>
          </a:p>
          <a:p>
            <a:r>
              <a:rPr lang="de-DE" sz="1000" b="1" dirty="0">
                <a:solidFill>
                  <a:srgbClr val="005C2A"/>
                </a:solidFill>
              </a:rPr>
              <a:t>?? %</a:t>
            </a:r>
            <a:endParaRPr lang="en-GB" sz="1000" b="1" dirty="0">
              <a:solidFill>
                <a:srgbClr val="005C2A"/>
              </a:solidFill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9B14CFC7-E8EF-4133-8EDD-2FA64AE55FBC}"/>
              </a:ext>
            </a:extLst>
          </p:cNvPr>
          <p:cNvSpPr txBox="1"/>
          <p:nvPr/>
        </p:nvSpPr>
        <p:spPr>
          <a:xfrm>
            <a:off x="3038937" y="3636596"/>
            <a:ext cx="114486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</a:rPr>
              <a:t>98,72 HUF/MWh</a:t>
            </a:r>
            <a:endParaRPr lang="en-GB" sz="1000" b="1" dirty="0">
              <a:solidFill>
                <a:schemeClr val="bg1"/>
              </a:solidFill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9EA6BEE5-40CC-4A40-8E3F-E9FEA9D8D2C7}"/>
              </a:ext>
            </a:extLst>
          </p:cNvPr>
          <p:cNvSpPr txBox="1"/>
          <p:nvPr/>
        </p:nvSpPr>
        <p:spPr>
          <a:xfrm>
            <a:off x="1826077" y="1266006"/>
            <a:ext cx="902811" cy="70788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de-DE" sz="1000" b="1" i="1" dirty="0"/>
              <a:t>Entry</a:t>
            </a:r>
          </a:p>
          <a:p>
            <a:r>
              <a:rPr lang="de-DE" sz="1000" b="1" dirty="0">
                <a:solidFill>
                  <a:srgbClr val="0066AA"/>
                </a:solidFill>
              </a:rPr>
              <a:t>0,77 €/kWh/h/y</a:t>
            </a:r>
          </a:p>
          <a:p>
            <a:r>
              <a:rPr lang="de-DE" sz="1000" b="1" dirty="0">
                <a:solidFill>
                  <a:srgbClr val="FF0000"/>
                </a:solidFill>
              </a:rPr>
              <a:t>1,27 €/kWh/h/y</a:t>
            </a:r>
          </a:p>
          <a:p>
            <a:r>
              <a:rPr lang="de-DE" sz="1000" b="1" dirty="0">
                <a:solidFill>
                  <a:srgbClr val="005C2A"/>
                </a:solidFill>
              </a:rPr>
              <a:t>33 %</a:t>
            </a:r>
            <a:endParaRPr lang="en-GB" sz="1000" b="1" dirty="0">
              <a:solidFill>
                <a:srgbClr val="005C2A"/>
              </a:solidFill>
            </a:endParaRPr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3C9E0387-FF9F-4BCE-AA43-606CE7B3A992}"/>
              </a:ext>
            </a:extLst>
          </p:cNvPr>
          <p:cNvSpPr/>
          <p:nvPr/>
        </p:nvSpPr>
        <p:spPr>
          <a:xfrm>
            <a:off x="3032416" y="1786612"/>
            <a:ext cx="45719" cy="45719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000"/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43337146-3BD5-4AB9-B824-779E6C7A73AA}"/>
              </a:ext>
            </a:extLst>
          </p:cNvPr>
          <p:cNvSpPr/>
          <p:nvPr/>
        </p:nvSpPr>
        <p:spPr>
          <a:xfrm>
            <a:off x="4998065" y="3164160"/>
            <a:ext cx="46038" cy="46038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000"/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68FBFD14-3E78-49C3-98EF-F04B7F710EC2}"/>
              </a:ext>
            </a:extLst>
          </p:cNvPr>
          <p:cNvSpPr/>
          <p:nvPr/>
        </p:nvSpPr>
        <p:spPr>
          <a:xfrm>
            <a:off x="8748464" y="4682030"/>
            <a:ext cx="46038" cy="46038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000"/>
          </a:p>
        </p:txBody>
      </p:sp>
      <p:pic>
        <p:nvPicPr>
          <p:cNvPr id="21" name="Picture 2">
            <a:extLst>
              <a:ext uri="{FF2B5EF4-FFF2-40B4-BE49-F238E27FC236}">
                <a16:creationId xmlns:a16="http://schemas.microsoft.com/office/drawing/2014/main" id="{994AB3E9-2C43-4A17-A390-E93CEFFC5B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8644" y="1537781"/>
            <a:ext cx="413712" cy="277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2">
            <a:extLst>
              <a:ext uri="{FF2B5EF4-FFF2-40B4-BE49-F238E27FC236}">
                <a16:creationId xmlns:a16="http://schemas.microsoft.com/office/drawing/2014/main" id="{93C817D6-3192-4DB1-A907-6EF5D1E7FA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8458" y="1568310"/>
            <a:ext cx="554679" cy="2784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4" descr="Bildergebnis für romania flag">
            <a:extLst>
              <a:ext uri="{FF2B5EF4-FFF2-40B4-BE49-F238E27FC236}">
                <a16:creationId xmlns:a16="http://schemas.microsoft.com/office/drawing/2014/main" id="{070261C6-16F7-4AE6-9030-216054CF17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2823" y="3636596"/>
            <a:ext cx="504056" cy="336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Inhaltsplatzhalter 55">
            <a:extLst>
              <a:ext uri="{FF2B5EF4-FFF2-40B4-BE49-F238E27FC236}">
                <a16:creationId xmlns:a16="http://schemas.microsoft.com/office/drawing/2014/main" id="{30C4A714-2193-4E59-BDCD-4C40ED6FB9A2}"/>
              </a:ext>
            </a:extLst>
          </p:cNvPr>
          <p:cNvSpPr txBox="1">
            <a:spLocks/>
          </p:cNvSpPr>
          <p:nvPr/>
        </p:nvSpPr>
        <p:spPr>
          <a:xfrm>
            <a:off x="146196" y="4184757"/>
            <a:ext cx="2670924" cy="6822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1pPr>
            <a:lvl2pPr marL="268288" indent="-268288" algn="l" defTabSz="914400" rtl="0" eaLnBrk="1" latinLnBrk="0" hangingPunct="1">
              <a:spcBef>
                <a:spcPts val="500"/>
              </a:spcBef>
              <a:buClr>
                <a:srgbClr val="0066A9"/>
              </a:buClr>
              <a:buFont typeface="Arial" panose="020B0604020202020204" pitchFamily="34" charset="0"/>
              <a:buChar char="&gt;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2pPr>
            <a:lvl3pPr marL="536575" indent="-268288" algn="l" defTabSz="914400" rtl="0" eaLnBrk="1" latinLnBrk="0" hangingPunct="1">
              <a:spcBef>
                <a:spcPts val="400"/>
              </a:spcBef>
              <a:buClr>
                <a:srgbClr val="0066A9"/>
              </a:buClr>
              <a:buFont typeface="Wingdings" panose="05000000000000000000" pitchFamily="2" charset="2"/>
              <a:buChar char="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3pPr>
            <a:lvl4pPr marL="720725" indent="-273050" algn="l" defTabSz="914400" rtl="0" eaLnBrk="1" latinLnBrk="0" hangingPunct="1">
              <a:spcBef>
                <a:spcPts val="4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 dirty="0">
                <a:solidFill>
                  <a:schemeClr val="accent1"/>
                </a:solidFill>
              </a:rPr>
              <a:t>Reserve price</a:t>
            </a:r>
          </a:p>
          <a:p>
            <a:r>
              <a:rPr lang="en-US" sz="1000" b="1" dirty="0">
                <a:solidFill>
                  <a:srgbClr val="FF0000"/>
                </a:solidFill>
              </a:rPr>
              <a:t>Minimum Premium</a:t>
            </a:r>
          </a:p>
          <a:p>
            <a:r>
              <a:rPr lang="en-US" sz="1000" b="1" dirty="0">
                <a:solidFill>
                  <a:srgbClr val="005C2A"/>
                </a:solidFill>
              </a:rPr>
              <a:t>Minimum booked incremental capacity threshold  </a:t>
            </a:r>
          </a:p>
        </p:txBody>
      </p:sp>
      <p:sp>
        <p:nvSpPr>
          <p:cNvPr id="25" name="Nach rechts gekrümmter Pfeil 38">
            <a:extLst>
              <a:ext uri="{FF2B5EF4-FFF2-40B4-BE49-F238E27FC236}">
                <a16:creationId xmlns:a16="http://schemas.microsoft.com/office/drawing/2014/main" id="{9BBCAD58-044B-4A57-A70B-96BFAB29D44C}"/>
              </a:ext>
            </a:extLst>
          </p:cNvPr>
          <p:cNvSpPr/>
          <p:nvPr/>
        </p:nvSpPr>
        <p:spPr>
          <a:xfrm rot="7474156">
            <a:off x="3178959" y="535888"/>
            <a:ext cx="382393" cy="1744587"/>
          </a:xfrm>
          <a:prstGeom prst="curvedRightArrow">
            <a:avLst>
              <a:gd name="adj1" fmla="val 25000"/>
              <a:gd name="adj2" fmla="val 100760"/>
              <a:gd name="adj3" fmla="val 25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5E4F0B7E-02D9-4F90-B4CF-8D024517A9FA}"/>
              </a:ext>
            </a:extLst>
          </p:cNvPr>
          <p:cNvSpPr txBox="1"/>
          <p:nvPr/>
        </p:nvSpPr>
        <p:spPr>
          <a:xfrm>
            <a:off x="3590976" y="872178"/>
            <a:ext cx="18101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highlight>
                  <a:srgbClr val="FFFF00"/>
                </a:highlight>
              </a:rPr>
              <a:t>24,88    €/kWh/h/y </a:t>
            </a:r>
            <a:endParaRPr lang="en-GB" b="1" dirty="0">
              <a:highlight>
                <a:srgbClr val="FFFF00"/>
              </a:highlight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6A24E45D-7E35-4EB4-92E6-9FF3DA3E086C}"/>
              </a:ext>
            </a:extLst>
          </p:cNvPr>
          <p:cNvSpPr/>
          <p:nvPr/>
        </p:nvSpPr>
        <p:spPr>
          <a:xfrm>
            <a:off x="46574" y="5165055"/>
            <a:ext cx="907423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rgbClr val="000000"/>
                </a:solidFill>
                <a:latin typeface="Arial" panose="020B0604020202020204" pitchFamily="34" charset="0"/>
              </a:rPr>
              <a:t>Termination fee for GCA is </a:t>
            </a:r>
            <a:r>
              <a:rPr lang="en-US" sz="1400" b="1" i="1" u="sng" dirty="0">
                <a:solidFill>
                  <a:srgbClr val="FF0000"/>
                </a:solidFill>
                <a:latin typeface="Arial" panose="020B0604020202020204" pitchFamily="34" charset="0"/>
              </a:rPr>
              <a:t>0.033%</a:t>
            </a:r>
            <a:r>
              <a:rPr lang="en-US" sz="1400" b="1" i="1" dirty="0">
                <a:solidFill>
                  <a:srgbClr val="000000"/>
                </a:solidFill>
                <a:latin typeface="Arial" panose="020B0604020202020204" pitchFamily="34" charset="0"/>
              </a:rPr>
              <a:t> and FGSZ  is </a:t>
            </a:r>
            <a:r>
              <a:rPr lang="en-US" sz="1400" b="1" i="1" u="sng" dirty="0">
                <a:solidFill>
                  <a:srgbClr val="FF0000"/>
                </a:solidFill>
                <a:latin typeface="Arial" panose="020B0604020202020204" pitchFamily="34" charset="0"/>
              </a:rPr>
              <a:t>10%</a:t>
            </a:r>
            <a:r>
              <a:rPr lang="en-US" sz="1400" b="1" i="1" dirty="0">
                <a:solidFill>
                  <a:srgbClr val="000000"/>
                </a:solidFill>
                <a:latin typeface="Arial" panose="020B0604020202020204" pitchFamily="34" charset="0"/>
              </a:rPr>
              <a:t> of the respective value of the individual Bid </a:t>
            </a:r>
            <a:endParaRPr lang="de-DE" sz="1400" b="1" i="1" dirty="0"/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A8FAA516-9544-4505-99A3-73F2B956C8B2}"/>
              </a:ext>
            </a:extLst>
          </p:cNvPr>
          <p:cNvSpPr txBox="1"/>
          <p:nvPr/>
        </p:nvSpPr>
        <p:spPr>
          <a:xfrm>
            <a:off x="5412639" y="1137868"/>
            <a:ext cx="22509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HU:  22,84    €/kWh/h/y </a:t>
            </a:r>
            <a:endParaRPr lang="en-GB" b="1" dirty="0"/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1A12E479-E396-41F7-AE0B-44D3871185DA}"/>
              </a:ext>
            </a:extLst>
          </p:cNvPr>
          <p:cNvSpPr txBox="1"/>
          <p:nvPr/>
        </p:nvSpPr>
        <p:spPr>
          <a:xfrm>
            <a:off x="5453830" y="883079"/>
            <a:ext cx="26298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AT:    2,04    €/kWh/h/y </a:t>
            </a:r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34342452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7" grpId="0" animBg="1"/>
      <p:bldP spid="25" grpId="0" animBg="1"/>
      <p:bldP spid="26" grpId="0"/>
      <p:bldP spid="28" grpId="0"/>
      <p:bldP spid="29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6917C9-42BE-4F1C-B83D-0E6B20530D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Project costs overview HUAT offer level 2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5E7A2C7-0950-4AE6-BF4E-D55DF94E44FF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665A490-952F-4C6F-8AF1-2C16A1DEA8F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8" name="Foliennummernplatzhalter 3">
            <a:extLst>
              <a:ext uri="{FF2B5EF4-FFF2-40B4-BE49-F238E27FC236}">
                <a16:creationId xmlns:a16="http://schemas.microsoft.com/office/drawing/2014/main" id="{A1B746DA-4069-4001-B1F6-D511D5F2D692}"/>
              </a:ext>
            </a:extLst>
          </p:cNvPr>
          <p:cNvSpPr txBox="1">
            <a:spLocks/>
          </p:cNvSpPr>
          <p:nvPr/>
        </p:nvSpPr>
        <p:spPr>
          <a:xfrm>
            <a:off x="7622976" y="4242907"/>
            <a:ext cx="2133600" cy="4762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600" i="1" kern="1200" baseline="0">
                <a:solidFill>
                  <a:schemeClr val="bg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1pPr>
            <a:lvl2pPr marL="268288" indent="-268288" algn="l" defTabSz="914400" rtl="0" eaLnBrk="1" latinLnBrk="0" hangingPunct="1">
              <a:spcBef>
                <a:spcPts val="500"/>
              </a:spcBef>
              <a:buClr>
                <a:srgbClr val="0066A9"/>
              </a:buClr>
              <a:buFont typeface="Arial" panose="020B0604020202020204" pitchFamily="34" charset="0"/>
              <a:buChar char="&gt;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2pPr>
            <a:lvl3pPr marL="536575" indent="-268288" algn="l" defTabSz="914400" rtl="0" eaLnBrk="1" latinLnBrk="0" hangingPunct="1">
              <a:spcBef>
                <a:spcPts val="400"/>
              </a:spcBef>
              <a:buClr>
                <a:srgbClr val="0066A9"/>
              </a:buClr>
              <a:buFont typeface="Wingdings" panose="05000000000000000000" pitchFamily="2" charset="2"/>
              <a:buChar char="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3pPr>
            <a:lvl4pPr marL="720725" indent="-273050" algn="l" defTabSz="914400" rtl="0" eaLnBrk="1" latinLnBrk="0" hangingPunct="1">
              <a:spcBef>
                <a:spcPts val="4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38FDFA3-F5B0-4BC3-9E09-D644D952F017}" type="slidenum">
              <a:rPr lang="de-DE" altLang="de-DE" smtClean="0"/>
              <a:pPr/>
              <a:t>16</a:t>
            </a:fld>
            <a:endParaRPr lang="de-DE" altLang="de-DE" dirty="0"/>
          </a:p>
        </p:txBody>
      </p:sp>
      <p:grpSp>
        <p:nvGrpSpPr>
          <p:cNvPr id="9" name="Gruppierung 1">
            <a:extLst>
              <a:ext uri="{FF2B5EF4-FFF2-40B4-BE49-F238E27FC236}">
                <a16:creationId xmlns:a16="http://schemas.microsoft.com/office/drawing/2014/main" id="{3454A848-C9F5-4B2A-8960-127AFABFEF25}"/>
              </a:ext>
            </a:extLst>
          </p:cNvPr>
          <p:cNvGrpSpPr/>
          <p:nvPr/>
        </p:nvGrpSpPr>
        <p:grpSpPr>
          <a:xfrm>
            <a:off x="317879" y="1310924"/>
            <a:ext cx="7992945" cy="3421066"/>
            <a:chOff x="4992688" y="4651375"/>
            <a:chExt cx="1290637" cy="449263"/>
          </a:xfrm>
        </p:grpSpPr>
        <p:sp>
          <p:nvSpPr>
            <p:cNvPr id="10" name="Freeform 26">
              <a:extLst>
                <a:ext uri="{FF2B5EF4-FFF2-40B4-BE49-F238E27FC236}">
                  <a16:creationId xmlns:a16="http://schemas.microsoft.com/office/drawing/2014/main" id="{9FC63434-038D-4849-8CAA-02CE3CE7F0CE}"/>
                </a:ext>
              </a:extLst>
            </p:cNvPr>
            <p:cNvSpPr>
              <a:spLocks/>
            </p:cNvSpPr>
            <p:nvPr/>
          </p:nvSpPr>
          <p:spPr bwMode="gray">
            <a:xfrm>
              <a:off x="4992688" y="4651375"/>
              <a:ext cx="500062" cy="228600"/>
            </a:xfrm>
            <a:custGeom>
              <a:avLst/>
              <a:gdLst>
                <a:gd name="T0" fmla="*/ 31 w 302"/>
                <a:gd name="T1" fmla="*/ 209 h 148"/>
                <a:gd name="T2" fmla="*/ 48 w 302"/>
                <a:gd name="T3" fmla="*/ 207 h 148"/>
                <a:gd name="T4" fmla="*/ 70 w 302"/>
                <a:gd name="T5" fmla="*/ 215 h 148"/>
                <a:gd name="T6" fmla="*/ 86 w 302"/>
                <a:gd name="T7" fmla="*/ 229 h 148"/>
                <a:gd name="T8" fmla="*/ 100 w 302"/>
                <a:gd name="T9" fmla="*/ 244 h 148"/>
                <a:gd name="T10" fmla="*/ 138 w 302"/>
                <a:gd name="T11" fmla="*/ 224 h 148"/>
                <a:gd name="T12" fmla="*/ 155 w 302"/>
                <a:gd name="T13" fmla="*/ 207 h 148"/>
                <a:gd name="T14" fmla="*/ 198 w 302"/>
                <a:gd name="T15" fmla="*/ 209 h 148"/>
                <a:gd name="T16" fmla="*/ 217 w 302"/>
                <a:gd name="T17" fmla="*/ 229 h 148"/>
                <a:gd name="T18" fmla="*/ 275 w 302"/>
                <a:gd name="T19" fmla="*/ 220 h 148"/>
                <a:gd name="T20" fmla="*/ 303 w 302"/>
                <a:gd name="T21" fmla="*/ 209 h 148"/>
                <a:gd name="T22" fmla="*/ 392 w 302"/>
                <a:gd name="T23" fmla="*/ 198 h 148"/>
                <a:gd name="T24" fmla="*/ 429 w 302"/>
                <a:gd name="T25" fmla="*/ 184 h 148"/>
                <a:gd name="T26" fmla="*/ 477 w 302"/>
                <a:gd name="T27" fmla="*/ 189 h 148"/>
                <a:gd name="T28" fmla="*/ 486 w 302"/>
                <a:gd name="T29" fmla="*/ 207 h 148"/>
                <a:gd name="T30" fmla="*/ 523 w 302"/>
                <a:gd name="T31" fmla="*/ 215 h 148"/>
                <a:gd name="T32" fmla="*/ 523 w 302"/>
                <a:gd name="T33" fmla="*/ 184 h 148"/>
                <a:gd name="T34" fmla="*/ 516 w 302"/>
                <a:gd name="T35" fmla="*/ 164 h 148"/>
                <a:gd name="T36" fmla="*/ 499 w 302"/>
                <a:gd name="T37" fmla="*/ 106 h 148"/>
                <a:gd name="T38" fmla="*/ 577 w 302"/>
                <a:gd name="T39" fmla="*/ 76 h 148"/>
                <a:gd name="T40" fmla="*/ 593 w 302"/>
                <a:gd name="T41" fmla="*/ 50 h 148"/>
                <a:gd name="T42" fmla="*/ 661 w 302"/>
                <a:gd name="T43" fmla="*/ 47 h 148"/>
                <a:gd name="T44" fmla="*/ 700 w 302"/>
                <a:gd name="T45" fmla="*/ 56 h 148"/>
                <a:gd name="T46" fmla="*/ 770 w 302"/>
                <a:gd name="T47" fmla="*/ 50 h 148"/>
                <a:gd name="T48" fmla="*/ 905 w 302"/>
                <a:gd name="T49" fmla="*/ 21 h 148"/>
                <a:gd name="T50" fmla="*/ 1070 w 302"/>
                <a:gd name="T51" fmla="*/ 26 h 148"/>
                <a:gd name="T52" fmla="*/ 1106 w 302"/>
                <a:gd name="T53" fmla="*/ 47 h 148"/>
                <a:gd name="T54" fmla="*/ 1100 w 302"/>
                <a:gd name="T55" fmla="*/ 91 h 148"/>
                <a:gd name="T56" fmla="*/ 1160 w 302"/>
                <a:gd name="T57" fmla="*/ 143 h 148"/>
                <a:gd name="T58" fmla="*/ 1121 w 302"/>
                <a:gd name="T59" fmla="*/ 189 h 148"/>
                <a:gd name="T60" fmla="*/ 1060 w 302"/>
                <a:gd name="T61" fmla="*/ 184 h 148"/>
                <a:gd name="T62" fmla="*/ 1023 w 302"/>
                <a:gd name="T63" fmla="*/ 195 h 148"/>
                <a:gd name="T64" fmla="*/ 1060 w 302"/>
                <a:gd name="T65" fmla="*/ 209 h 148"/>
                <a:gd name="T66" fmla="*/ 1028 w 302"/>
                <a:gd name="T67" fmla="*/ 229 h 148"/>
                <a:gd name="T68" fmla="*/ 1038 w 302"/>
                <a:gd name="T69" fmla="*/ 267 h 148"/>
                <a:gd name="T70" fmla="*/ 1008 w 302"/>
                <a:gd name="T71" fmla="*/ 306 h 148"/>
                <a:gd name="T72" fmla="*/ 964 w 302"/>
                <a:gd name="T73" fmla="*/ 334 h 148"/>
                <a:gd name="T74" fmla="*/ 884 w 302"/>
                <a:gd name="T75" fmla="*/ 347 h 148"/>
                <a:gd name="T76" fmla="*/ 792 w 302"/>
                <a:gd name="T77" fmla="*/ 347 h 148"/>
                <a:gd name="T78" fmla="*/ 732 w 302"/>
                <a:gd name="T79" fmla="*/ 366 h 148"/>
                <a:gd name="T80" fmla="*/ 675 w 302"/>
                <a:gd name="T81" fmla="*/ 362 h 148"/>
                <a:gd name="T82" fmla="*/ 577 w 302"/>
                <a:gd name="T83" fmla="*/ 351 h 148"/>
                <a:gd name="T84" fmla="*/ 429 w 302"/>
                <a:gd name="T85" fmla="*/ 332 h 148"/>
                <a:gd name="T86" fmla="*/ 382 w 302"/>
                <a:gd name="T87" fmla="*/ 297 h 148"/>
                <a:gd name="T88" fmla="*/ 332 w 302"/>
                <a:gd name="T89" fmla="*/ 290 h 148"/>
                <a:gd name="T90" fmla="*/ 275 w 302"/>
                <a:gd name="T91" fmla="*/ 290 h 148"/>
                <a:gd name="T92" fmla="*/ 244 w 302"/>
                <a:gd name="T93" fmla="*/ 290 h 148"/>
                <a:gd name="T94" fmla="*/ 185 w 302"/>
                <a:gd name="T95" fmla="*/ 316 h 148"/>
                <a:gd name="T96" fmla="*/ 138 w 302"/>
                <a:gd name="T97" fmla="*/ 290 h 148"/>
                <a:gd name="T98" fmla="*/ 94 w 302"/>
                <a:gd name="T99" fmla="*/ 306 h 148"/>
                <a:gd name="T100" fmla="*/ 56 w 302"/>
                <a:gd name="T101" fmla="*/ 283 h 148"/>
                <a:gd name="T102" fmla="*/ 16 w 302"/>
                <a:gd name="T103" fmla="*/ 267 h 148"/>
                <a:gd name="T104" fmla="*/ 16 w 302"/>
                <a:gd name="T105" fmla="*/ 229 h 148"/>
                <a:gd name="T106" fmla="*/ 10 w 302"/>
                <a:gd name="T107" fmla="*/ 207 h 1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02"/>
                <a:gd name="T163" fmla="*/ 0 h 148"/>
                <a:gd name="T164" fmla="*/ 302 w 302"/>
                <a:gd name="T165" fmla="*/ 148 h 14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02" h="148">
                  <a:moveTo>
                    <a:pt x="2" y="80"/>
                  </a:moveTo>
                  <a:lnTo>
                    <a:pt x="8" y="82"/>
                  </a:lnTo>
                  <a:lnTo>
                    <a:pt x="12" y="78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8" y="84"/>
                  </a:lnTo>
                  <a:lnTo>
                    <a:pt x="22" y="86"/>
                  </a:lnTo>
                  <a:lnTo>
                    <a:pt x="22" y="90"/>
                  </a:lnTo>
                  <a:lnTo>
                    <a:pt x="26" y="90"/>
                  </a:lnTo>
                  <a:lnTo>
                    <a:pt x="26" y="96"/>
                  </a:lnTo>
                  <a:lnTo>
                    <a:pt x="28" y="96"/>
                  </a:lnTo>
                  <a:lnTo>
                    <a:pt x="36" y="88"/>
                  </a:lnTo>
                  <a:lnTo>
                    <a:pt x="36" y="80"/>
                  </a:lnTo>
                  <a:lnTo>
                    <a:pt x="40" y="80"/>
                  </a:lnTo>
                  <a:lnTo>
                    <a:pt x="44" y="80"/>
                  </a:lnTo>
                  <a:lnTo>
                    <a:pt x="52" y="82"/>
                  </a:lnTo>
                  <a:lnTo>
                    <a:pt x="54" y="86"/>
                  </a:lnTo>
                  <a:lnTo>
                    <a:pt x="56" y="90"/>
                  </a:lnTo>
                  <a:lnTo>
                    <a:pt x="66" y="90"/>
                  </a:lnTo>
                  <a:lnTo>
                    <a:pt x="72" y="86"/>
                  </a:lnTo>
                  <a:lnTo>
                    <a:pt x="74" y="82"/>
                  </a:lnTo>
                  <a:lnTo>
                    <a:pt x="78" y="82"/>
                  </a:lnTo>
                  <a:lnTo>
                    <a:pt x="80" y="78"/>
                  </a:lnTo>
                  <a:lnTo>
                    <a:pt x="102" y="78"/>
                  </a:lnTo>
                  <a:lnTo>
                    <a:pt x="104" y="72"/>
                  </a:lnTo>
                  <a:lnTo>
                    <a:pt x="112" y="72"/>
                  </a:lnTo>
                  <a:lnTo>
                    <a:pt x="114" y="76"/>
                  </a:lnTo>
                  <a:lnTo>
                    <a:pt x="124" y="74"/>
                  </a:lnTo>
                  <a:lnTo>
                    <a:pt x="128" y="76"/>
                  </a:lnTo>
                  <a:lnTo>
                    <a:pt x="126" y="80"/>
                  </a:lnTo>
                  <a:lnTo>
                    <a:pt x="134" y="86"/>
                  </a:lnTo>
                  <a:lnTo>
                    <a:pt x="136" y="84"/>
                  </a:lnTo>
                  <a:lnTo>
                    <a:pt x="136" y="76"/>
                  </a:lnTo>
                  <a:lnTo>
                    <a:pt x="136" y="72"/>
                  </a:lnTo>
                  <a:lnTo>
                    <a:pt x="130" y="70"/>
                  </a:lnTo>
                  <a:lnTo>
                    <a:pt x="134" y="64"/>
                  </a:lnTo>
                  <a:lnTo>
                    <a:pt x="124" y="48"/>
                  </a:lnTo>
                  <a:lnTo>
                    <a:pt x="130" y="42"/>
                  </a:lnTo>
                  <a:lnTo>
                    <a:pt x="148" y="34"/>
                  </a:lnTo>
                  <a:lnTo>
                    <a:pt x="150" y="30"/>
                  </a:lnTo>
                  <a:lnTo>
                    <a:pt x="150" y="22"/>
                  </a:lnTo>
                  <a:lnTo>
                    <a:pt x="154" y="20"/>
                  </a:lnTo>
                  <a:lnTo>
                    <a:pt x="160" y="26"/>
                  </a:lnTo>
                  <a:lnTo>
                    <a:pt x="172" y="18"/>
                  </a:lnTo>
                  <a:lnTo>
                    <a:pt x="174" y="18"/>
                  </a:lnTo>
                  <a:lnTo>
                    <a:pt x="182" y="22"/>
                  </a:lnTo>
                  <a:lnTo>
                    <a:pt x="190" y="24"/>
                  </a:lnTo>
                  <a:lnTo>
                    <a:pt x="200" y="20"/>
                  </a:lnTo>
                  <a:lnTo>
                    <a:pt x="212" y="0"/>
                  </a:lnTo>
                  <a:lnTo>
                    <a:pt x="236" y="8"/>
                  </a:lnTo>
                  <a:lnTo>
                    <a:pt x="254" y="14"/>
                  </a:lnTo>
                  <a:lnTo>
                    <a:pt x="278" y="10"/>
                  </a:lnTo>
                  <a:lnTo>
                    <a:pt x="286" y="16"/>
                  </a:lnTo>
                  <a:lnTo>
                    <a:pt x="288" y="18"/>
                  </a:lnTo>
                  <a:lnTo>
                    <a:pt x="288" y="20"/>
                  </a:lnTo>
                  <a:lnTo>
                    <a:pt x="286" y="36"/>
                  </a:lnTo>
                  <a:lnTo>
                    <a:pt x="290" y="42"/>
                  </a:lnTo>
                  <a:lnTo>
                    <a:pt x="302" y="56"/>
                  </a:lnTo>
                  <a:lnTo>
                    <a:pt x="292" y="64"/>
                  </a:lnTo>
                  <a:lnTo>
                    <a:pt x="292" y="74"/>
                  </a:lnTo>
                  <a:lnTo>
                    <a:pt x="280" y="74"/>
                  </a:lnTo>
                  <a:lnTo>
                    <a:pt x="276" y="72"/>
                  </a:lnTo>
                  <a:lnTo>
                    <a:pt x="270" y="72"/>
                  </a:lnTo>
                  <a:lnTo>
                    <a:pt x="266" y="76"/>
                  </a:lnTo>
                  <a:lnTo>
                    <a:pt x="274" y="78"/>
                  </a:lnTo>
                  <a:lnTo>
                    <a:pt x="276" y="82"/>
                  </a:lnTo>
                  <a:lnTo>
                    <a:pt x="274" y="88"/>
                  </a:lnTo>
                  <a:lnTo>
                    <a:pt x="268" y="90"/>
                  </a:lnTo>
                  <a:lnTo>
                    <a:pt x="266" y="100"/>
                  </a:lnTo>
                  <a:lnTo>
                    <a:pt x="270" y="104"/>
                  </a:lnTo>
                  <a:lnTo>
                    <a:pt x="268" y="112"/>
                  </a:lnTo>
                  <a:lnTo>
                    <a:pt x="262" y="120"/>
                  </a:lnTo>
                  <a:lnTo>
                    <a:pt x="250" y="124"/>
                  </a:lnTo>
                  <a:lnTo>
                    <a:pt x="250" y="132"/>
                  </a:lnTo>
                  <a:lnTo>
                    <a:pt x="236" y="130"/>
                  </a:lnTo>
                  <a:lnTo>
                    <a:pt x="230" y="136"/>
                  </a:lnTo>
                  <a:lnTo>
                    <a:pt x="216" y="132"/>
                  </a:lnTo>
                  <a:lnTo>
                    <a:pt x="206" y="136"/>
                  </a:lnTo>
                  <a:lnTo>
                    <a:pt x="194" y="148"/>
                  </a:lnTo>
                  <a:lnTo>
                    <a:pt x="190" y="144"/>
                  </a:lnTo>
                  <a:lnTo>
                    <a:pt x="180" y="144"/>
                  </a:lnTo>
                  <a:lnTo>
                    <a:pt x="176" y="142"/>
                  </a:lnTo>
                  <a:lnTo>
                    <a:pt x="158" y="140"/>
                  </a:lnTo>
                  <a:lnTo>
                    <a:pt x="150" y="138"/>
                  </a:lnTo>
                  <a:lnTo>
                    <a:pt x="134" y="136"/>
                  </a:lnTo>
                  <a:lnTo>
                    <a:pt x="112" y="130"/>
                  </a:lnTo>
                  <a:lnTo>
                    <a:pt x="106" y="120"/>
                  </a:lnTo>
                  <a:lnTo>
                    <a:pt x="100" y="116"/>
                  </a:lnTo>
                  <a:lnTo>
                    <a:pt x="100" y="108"/>
                  </a:lnTo>
                  <a:lnTo>
                    <a:pt x="86" y="114"/>
                  </a:lnTo>
                  <a:lnTo>
                    <a:pt x="80" y="110"/>
                  </a:lnTo>
                  <a:lnTo>
                    <a:pt x="72" y="114"/>
                  </a:lnTo>
                  <a:lnTo>
                    <a:pt x="70" y="112"/>
                  </a:lnTo>
                  <a:lnTo>
                    <a:pt x="64" y="114"/>
                  </a:lnTo>
                  <a:lnTo>
                    <a:pt x="58" y="124"/>
                  </a:lnTo>
                  <a:lnTo>
                    <a:pt x="48" y="124"/>
                  </a:lnTo>
                  <a:lnTo>
                    <a:pt x="36" y="120"/>
                  </a:lnTo>
                  <a:lnTo>
                    <a:pt x="36" y="114"/>
                  </a:lnTo>
                  <a:lnTo>
                    <a:pt x="34" y="112"/>
                  </a:lnTo>
                  <a:lnTo>
                    <a:pt x="24" y="120"/>
                  </a:lnTo>
                  <a:lnTo>
                    <a:pt x="14" y="114"/>
                  </a:lnTo>
                  <a:lnTo>
                    <a:pt x="14" y="110"/>
                  </a:lnTo>
                  <a:lnTo>
                    <a:pt x="2" y="108"/>
                  </a:lnTo>
                  <a:lnTo>
                    <a:pt x="4" y="104"/>
                  </a:lnTo>
                  <a:lnTo>
                    <a:pt x="0" y="96"/>
                  </a:lnTo>
                  <a:lnTo>
                    <a:pt x="4" y="90"/>
                  </a:lnTo>
                  <a:lnTo>
                    <a:pt x="2" y="80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1" name="Freeform 29">
              <a:extLst>
                <a:ext uri="{FF2B5EF4-FFF2-40B4-BE49-F238E27FC236}">
                  <a16:creationId xmlns:a16="http://schemas.microsoft.com/office/drawing/2014/main" id="{8D41DF68-E901-4AC7-B168-814463D14B0A}"/>
                </a:ext>
              </a:extLst>
            </p:cNvPr>
            <p:cNvSpPr>
              <a:spLocks/>
            </p:cNvSpPr>
            <p:nvPr/>
          </p:nvSpPr>
          <p:spPr bwMode="gray">
            <a:xfrm>
              <a:off x="5424488" y="4686300"/>
              <a:ext cx="433387" cy="247650"/>
            </a:xfrm>
            <a:custGeom>
              <a:avLst/>
              <a:gdLst>
                <a:gd name="T0" fmla="*/ 387 w 260"/>
                <a:gd name="T1" fmla="*/ 388 h 160"/>
                <a:gd name="T2" fmla="*/ 350 w 260"/>
                <a:gd name="T3" fmla="*/ 403 h 160"/>
                <a:gd name="T4" fmla="*/ 318 w 260"/>
                <a:gd name="T5" fmla="*/ 403 h 160"/>
                <a:gd name="T6" fmla="*/ 270 w 260"/>
                <a:gd name="T7" fmla="*/ 408 h 160"/>
                <a:gd name="T8" fmla="*/ 231 w 260"/>
                <a:gd name="T9" fmla="*/ 403 h 160"/>
                <a:gd name="T10" fmla="*/ 157 w 260"/>
                <a:gd name="T11" fmla="*/ 358 h 160"/>
                <a:gd name="T12" fmla="*/ 57 w 260"/>
                <a:gd name="T13" fmla="*/ 321 h 160"/>
                <a:gd name="T14" fmla="*/ 39 w 260"/>
                <a:gd name="T15" fmla="*/ 306 h 160"/>
                <a:gd name="T16" fmla="*/ 16 w 260"/>
                <a:gd name="T17" fmla="*/ 285 h 160"/>
                <a:gd name="T18" fmla="*/ 0 w 260"/>
                <a:gd name="T19" fmla="*/ 250 h 160"/>
                <a:gd name="T20" fmla="*/ 25 w 260"/>
                <a:gd name="T21" fmla="*/ 229 h 160"/>
                <a:gd name="T22" fmla="*/ 31 w 260"/>
                <a:gd name="T23" fmla="*/ 209 h 160"/>
                <a:gd name="T24" fmla="*/ 16 w 260"/>
                <a:gd name="T25" fmla="*/ 198 h 160"/>
                <a:gd name="T26" fmla="*/ 25 w 260"/>
                <a:gd name="T27" fmla="*/ 172 h 160"/>
                <a:gd name="T28" fmla="*/ 48 w 260"/>
                <a:gd name="T29" fmla="*/ 168 h 160"/>
                <a:gd name="T30" fmla="*/ 57 w 260"/>
                <a:gd name="T31" fmla="*/ 153 h 160"/>
                <a:gd name="T32" fmla="*/ 48 w 260"/>
                <a:gd name="T33" fmla="*/ 143 h 160"/>
                <a:gd name="T34" fmla="*/ 16 w 260"/>
                <a:gd name="T35" fmla="*/ 138 h 160"/>
                <a:gd name="T36" fmla="*/ 31 w 260"/>
                <a:gd name="T37" fmla="*/ 126 h 160"/>
                <a:gd name="T38" fmla="*/ 57 w 260"/>
                <a:gd name="T39" fmla="*/ 126 h 160"/>
                <a:gd name="T40" fmla="*/ 72 w 260"/>
                <a:gd name="T41" fmla="*/ 132 h 160"/>
                <a:gd name="T42" fmla="*/ 118 w 260"/>
                <a:gd name="T43" fmla="*/ 132 h 160"/>
                <a:gd name="T44" fmla="*/ 118 w 260"/>
                <a:gd name="T45" fmla="*/ 106 h 160"/>
                <a:gd name="T46" fmla="*/ 157 w 260"/>
                <a:gd name="T47" fmla="*/ 88 h 160"/>
                <a:gd name="T48" fmla="*/ 172 w 260"/>
                <a:gd name="T49" fmla="*/ 76 h 160"/>
                <a:gd name="T50" fmla="*/ 206 w 260"/>
                <a:gd name="T51" fmla="*/ 88 h 160"/>
                <a:gd name="T52" fmla="*/ 245 w 260"/>
                <a:gd name="T53" fmla="*/ 103 h 160"/>
                <a:gd name="T54" fmla="*/ 278 w 260"/>
                <a:gd name="T55" fmla="*/ 103 h 160"/>
                <a:gd name="T56" fmla="*/ 387 w 260"/>
                <a:gd name="T57" fmla="*/ 106 h 160"/>
                <a:gd name="T58" fmla="*/ 415 w 260"/>
                <a:gd name="T59" fmla="*/ 65 h 160"/>
                <a:gd name="T60" fmla="*/ 428 w 260"/>
                <a:gd name="T61" fmla="*/ 65 h 160"/>
                <a:gd name="T62" fmla="*/ 479 w 260"/>
                <a:gd name="T63" fmla="*/ 56 h 160"/>
                <a:gd name="T64" fmla="*/ 516 w 260"/>
                <a:gd name="T65" fmla="*/ 56 h 160"/>
                <a:gd name="T66" fmla="*/ 553 w 260"/>
                <a:gd name="T67" fmla="*/ 56 h 160"/>
                <a:gd name="T68" fmla="*/ 585 w 260"/>
                <a:gd name="T69" fmla="*/ 56 h 160"/>
                <a:gd name="T70" fmla="*/ 658 w 260"/>
                <a:gd name="T71" fmla="*/ 2 h 160"/>
                <a:gd name="T72" fmla="*/ 706 w 260"/>
                <a:gd name="T73" fmla="*/ 0 h 160"/>
                <a:gd name="T74" fmla="*/ 779 w 260"/>
                <a:gd name="T75" fmla="*/ 0 h 160"/>
                <a:gd name="T76" fmla="*/ 816 w 260"/>
                <a:gd name="T77" fmla="*/ 21 h 160"/>
                <a:gd name="T78" fmla="*/ 841 w 260"/>
                <a:gd name="T79" fmla="*/ 30 h 160"/>
                <a:gd name="T80" fmla="*/ 888 w 260"/>
                <a:gd name="T81" fmla="*/ 26 h 160"/>
                <a:gd name="T82" fmla="*/ 894 w 260"/>
                <a:gd name="T83" fmla="*/ 26 h 160"/>
                <a:gd name="T84" fmla="*/ 941 w 260"/>
                <a:gd name="T85" fmla="*/ 47 h 160"/>
                <a:gd name="T86" fmla="*/ 981 w 260"/>
                <a:gd name="T87" fmla="*/ 63 h 160"/>
                <a:gd name="T88" fmla="*/ 1028 w 260"/>
                <a:gd name="T89" fmla="*/ 88 h 160"/>
                <a:gd name="T90" fmla="*/ 999 w 260"/>
                <a:gd name="T91" fmla="*/ 106 h 160"/>
                <a:gd name="T92" fmla="*/ 919 w 260"/>
                <a:gd name="T93" fmla="*/ 122 h 160"/>
                <a:gd name="T94" fmla="*/ 878 w 260"/>
                <a:gd name="T95" fmla="*/ 153 h 160"/>
                <a:gd name="T96" fmla="*/ 816 w 260"/>
                <a:gd name="T97" fmla="*/ 244 h 160"/>
                <a:gd name="T98" fmla="*/ 767 w 260"/>
                <a:gd name="T99" fmla="*/ 300 h 160"/>
                <a:gd name="T100" fmla="*/ 719 w 260"/>
                <a:gd name="T101" fmla="*/ 334 h 160"/>
                <a:gd name="T102" fmla="*/ 696 w 260"/>
                <a:gd name="T103" fmla="*/ 347 h 160"/>
                <a:gd name="T104" fmla="*/ 643 w 260"/>
                <a:gd name="T105" fmla="*/ 347 h 160"/>
                <a:gd name="T106" fmla="*/ 625 w 260"/>
                <a:gd name="T107" fmla="*/ 358 h 160"/>
                <a:gd name="T108" fmla="*/ 610 w 260"/>
                <a:gd name="T109" fmla="*/ 358 h 160"/>
                <a:gd name="T110" fmla="*/ 553 w 260"/>
                <a:gd name="T111" fmla="*/ 351 h 160"/>
                <a:gd name="T112" fmla="*/ 492 w 260"/>
                <a:gd name="T113" fmla="*/ 358 h 160"/>
                <a:gd name="T114" fmla="*/ 387 w 260"/>
                <a:gd name="T115" fmla="*/ 388 h 160"/>
                <a:gd name="T116" fmla="*/ 387 w 260"/>
                <a:gd name="T117" fmla="*/ 388 h 16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60"/>
                <a:gd name="T178" fmla="*/ 0 h 160"/>
                <a:gd name="T179" fmla="*/ 260 w 260"/>
                <a:gd name="T180" fmla="*/ 160 h 16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60" h="160">
                  <a:moveTo>
                    <a:pt x="98" y="152"/>
                  </a:moveTo>
                  <a:lnTo>
                    <a:pt x="88" y="158"/>
                  </a:lnTo>
                  <a:lnTo>
                    <a:pt x="80" y="158"/>
                  </a:lnTo>
                  <a:lnTo>
                    <a:pt x="68" y="160"/>
                  </a:lnTo>
                  <a:lnTo>
                    <a:pt x="58" y="158"/>
                  </a:lnTo>
                  <a:lnTo>
                    <a:pt x="40" y="140"/>
                  </a:lnTo>
                  <a:lnTo>
                    <a:pt x="14" y="126"/>
                  </a:lnTo>
                  <a:lnTo>
                    <a:pt x="10" y="120"/>
                  </a:lnTo>
                  <a:lnTo>
                    <a:pt x="4" y="112"/>
                  </a:lnTo>
                  <a:lnTo>
                    <a:pt x="0" y="98"/>
                  </a:lnTo>
                  <a:lnTo>
                    <a:pt x="6" y="90"/>
                  </a:lnTo>
                  <a:lnTo>
                    <a:pt x="8" y="82"/>
                  </a:lnTo>
                  <a:lnTo>
                    <a:pt x="4" y="78"/>
                  </a:lnTo>
                  <a:lnTo>
                    <a:pt x="6" y="68"/>
                  </a:lnTo>
                  <a:lnTo>
                    <a:pt x="12" y="66"/>
                  </a:lnTo>
                  <a:lnTo>
                    <a:pt x="14" y="60"/>
                  </a:lnTo>
                  <a:lnTo>
                    <a:pt x="12" y="56"/>
                  </a:lnTo>
                  <a:lnTo>
                    <a:pt x="4" y="54"/>
                  </a:lnTo>
                  <a:lnTo>
                    <a:pt x="8" y="50"/>
                  </a:lnTo>
                  <a:lnTo>
                    <a:pt x="14" y="50"/>
                  </a:lnTo>
                  <a:lnTo>
                    <a:pt x="18" y="52"/>
                  </a:lnTo>
                  <a:lnTo>
                    <a:pt x="30" y="52"/>
                  </a:lnTo>
                  <a:lnTo>
                    <a:pt x="30" y="42"/>
                  </a:lnTo>
                  <a:lnTo>
                    <a:pt x="40" y="34"/>
                  </a:lnTo>
                  <a:lnTo>
                    <a:pt x="44" y="30"/>
                  </a:lnTo>
                  <a:lnTo>
                    <a:pt x="52" y="34"/>
                  </a:lnTo>
                  <a:lnTo>
                    <a:pt x="62" y="40"/>
                  </a:lnTo>
                  <a:lnTo>
                    <a:pt x="70" y="40"/>
                  </a:lnTo>
                  <a:lnTo>
                    <a:pt x="98" y="42"/>
                  </a:lnTo>
                  <a:lnTo>
                    <a:pt x="104" y="26"/>
                  </a:lnTo>
                  <a:lnTo>
                    <a:pt x="108" y="26"/>
                  </a:lnTo>
                  <a:lnTo>
                    <a:pt x="122" y="22"/>
                  </a:lnTo>
                  <a:lnTo>
                    <a:pt x="130" y="22"/>
                  </a:lnTo>
                  <a:lnTo>
                    <a:pt x="140" y="22"/>
                  </a:lnTo>
                  <a:lnTo>
                    <a:pt x="148" y="22"/>
                  </a:lnTo>
                  <a:lnTo>
                    <a:pt x="166" y="2"/>
                  </a:lnTo>
                  <a:lnTo>
                    <a:pt x="178" y="0"/>
                  </a:lnTo>
                  <a:lnTo>
                    <a:pt x="196" y="0"/>
                  </a:lnTo>
                  <a:lnTo>
                    <a:pt x="206" y="8"/>
                  </a:lnTo>
                  <a:lnTo>
                    <a:pt x="212" y="12"/>
                  </a:lnTo>
                  <a:lnTo>
                    <a:pt x="224" y="10"/>
                  </a:lnTo>
                  <a:lnTo>
                    <a:pt x="226" y="10"/>
                  </a:lnTo>
                  <a:lnTo>
                    <a:pt x="238" y="18"/>
                  </a:lnTo>
                  <a:lnTo>
                    <a:pt x="248" y="24"/>
                  </a:lnTo>
                  <a:lnTo>
                    <a:pt x="260" y="34"/>
                  </a:lnTo>
                  <a:lnTo>
                    <a:pt x="252" y="42"/>
                  </a:lnTo>
                  <a:lnTo>
                    <a:pt x="232" y="48"/>
                  </a:lnTo>
                  <a:lnTo>
                    <a:pt x="222" y="60"/>
                  </a:lnTo>
                  <a:lnTo>
                    <a:pt x="206" y="96"/>
                  </a:lnTo>
                  <a:lnTo>
                    <a:pt x="194" y="118"/>
                  </a:lnTo>
                  <a:lnTo>
                    <a:pt x="182" y="132"/>
                  </a:lnTo>
                  <a:lnTo>
                    <a:pt x="176" y="136"/>
                  </a:lnTo>
                  <a:lnTo>
                    <a:pt x="162" y="136"/>
                  </a:lnTo>
                  <a:lnTo>
                    <a:pt x="158" y="140"/>
                  </a:lnTo>
                  <a:lnTo>
                    <a:pt x="154" y="140"/>
                  </a:lnTo>
                  <a:lnTo>
                    <a:pt x="140" y="138"/>
                  </a:lnTo>
                  <a:lnTo>
                    <a:pt x="124" y="140"/>
                  </a:lnTo>
                  <a:lnTo>
                    <a:pt x="98" y="152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DBA08587-0628-4664-B23C-B39EFB97C6DF}"/>
                </a:ext>
              </a:extLst>
            </p:cNvPr>
            <p:cNvSpPr>
              <a:spLocks/>
            </p:cNvSpPr>
            <p:nvPr/>
          </p:nvSpPr>
          <p:spPr bwMode="gray">
            <a:xfrm>
              <a:off x="5683250" y="4713288"/>
              <a:ext cx="600075" cy="387350"/>
            </a:xfrm>
            <a:custGeom>
              <a:avLst/>
              <a:gdLst>
                <a:gd name="T0" fmla="*/ 16 w 362"/>
                <a:gd name="T1" fmla="*/ 318 h 250"/>
                <a:gd name="T2" fmla="*/ 86 w 362"/>
                <a:gd name="T3" fmla="*/ 306 h 250"/>
                <a:gd name="T4" fmla="*/ 155 w 362"/>
                <a:gd name="T5" fmla="*/ 260 h 250"/>
                <a:gd name="T6" fmla="*/ 260 w 362"/>
                <a:gd name="T7" fmla="*/ 109 h 250"/>
                <a:gd name="T8" fmla="*/ 379 w 362"/>
                <a:gd name="T9" fmla="*/ 63 h 250"/>
                <a:gd name="T10" fmla="*/ 413 w 362"/>
                <a:gd name="T11" fmla="*/ 35 h 250"/>
                <a:gd name="T12" fmla="*/ 486 w 362"/>
                <a:gd name="T13" fmla="*/ 35 h 250"/>
                <a:gd name="T14" fmla="*/ 623 w 362"/>
                <a:gd name="T15" fmla="*/ 53 h 250"/>
                <a:gd name="T16" fmla="*/ 646 w 362"/>
                <a:gd name="T17" fmla="*/ 66 h 250"/>
                <a:gd name="T18" fmla="*/ 673 w 362"/>
                <a:gd name="T19" fmla="*/ 77 h 250"/>
                <a:gd name="T20" fmla="*/ 716 w 362"/>
                <a:gd name="T21" fmla="*/ 66 h 250"/>
                <a:gd name="T22" fmla="*/ 858 w 362"/>
                <a:gd name="T23" fmla="*/ 41 h 250"/>
                <a:gd name="T24" fmla="*/ 890 w 362"/>
                <a:gd name="T25" fmla="*/ 2 h 250"/>
                <a:gd name="T26" fmla="*/ 945 w 362"/>
                <a:gd name="T27" fmla="*/ 0 h 250"/>
                <a:gd name="T28" fmla="*/ 1036 w 362"/>
                <a:gd name="T29" fmla="*/ 93 h 250"/>
                <a:gd name="T30" fmla="*/ 1151 w 362"/>
                <a:gd name="T31" fmla="*/ 185 h 250"/>
                <a:gd name="T32" fmla="*/ 1169 w 362"/>
                <a:gd name="T33" fmla="*/ 265 h 250"/>
                <a:gd name="T34" fmla="*/ 1160 w 362"/>
                <a:gd name="T35" fmla="*/ 368 h 250"/>
                <a:gd name="T36" fmla="*/ 1145 w 362"/>
                <a:gd name="T37" fmla="*/ 388 h 250"/>
                <a:gd name="T38" fmla="*/ 1169 w 362"/>
                <a:gd name="T39" fmla="*/ 409 h 250"/>
                <a:gd name="T40" fmla="*/ 1175 w 362"/>
                <a:gd name="T41" fmla="*/ 409 h 250"/>
                <a:gd name="T42" fmla="*/ 1210 w 362"/>
                <a:gd name="T43" fmla="*/ 437 h 250"/>
                <a:gd name="T44" fmla="*/ 1253 w 362"/>
                <a:gd name="T45" fmla="*/ 424 h 250"/>
                <a:gd name="T46" fmla="*/ 1328 w 362"/>
                <a:gd name="T47" fmla="*/ 409 h 250"/>
                <a:gd name="T48" fmla="*/ 1382 w 362"/>
                <a:gd name="T49" fmla="*/ 421 h 250"/>
                <a:gd name="T50" fmla="*/ 1365 w 362"/>
                <a:gd name="T51" fmla="*/ 465 h 250"/>
                <a:gd name="T52" fmla="*/ 1319 w 362"/>
                <a:gd name="T53" fmla="*/ 493 h 250"/>
                <a:gd name="T54" fmla="*/ 1271 w 362"/>
                <a:gd name="T55" fmla="*/ 509 h 250"/>
                <a:gd name="T56" fmla="*/ 1221 w 362"/>
                <a:gd name="T57" fmla="*/ 586 h 250"/>
                <a:gd name="T58" fmla="*/ 1210 w 362"/>
                <a:gd name="T59" fmla="*/ 647 h 250"/>
                <a:gd name="T60" fmla="*/ 1074 w 362"/>
                <a:gd name="T61" fmla="*/ 621 h 250"/>
                <a:gd name="T62" fmla="*/ 1022 w 362"/>
                <a:gd name="T63" fmla="*/ 606 h 250"/>
                <a:gd name="T64" fmla="*/ 945 w 362"/>
                <a:gd name="T65" fmla="*/ 581 h 250"/>
                <a:gd name="T66" fmla="*/ 778 w 362"/>
                <a:gd name="T67" fmla="*/ 645 h 250"/>
                <a:gd name="T68" fmla="*/ 661 w 362"/>
                <a:gd name="T69" fmla="*/ 621 h 250"/>
                <a:gd name="T70" fmla="*/ 593 w 362"/>
                <a:gd name="T71" fmla="*/ 638 h 250"/>
                <a:gd name="T72" fmla="*/ 491 w 362"/>
                <a:gd name="T73" fmla="*/ 616 h 250"/>
                <a:gd name="T74" fmla="*/ 407 w 362"/>
                <a:gd name="T75" fmla="*/ 628 h 250"/>
                <a:gd name="T76" fmla="*/ 392 w 362"/>
                <a:gd name="T77" fmla="*/ 616 h 250"/>
                <a:gd name="T78" fmla="*/ 382 w 362"/>
                <a:gd name="T79" fmla="*/ 591 h 250"/>
                <a:gd name="T80" fmla="*/ 322 w 362"/>
                <a:gd name="T81" fmla="*/ 564 h 250"/>
                <a:gd name="T82" fmla="*/ 338 w 362"/>
                <a:gd name="T83" fmla="*/ 533 h 250"/>
                <a:gd name="T84" fmla="*/ 353 w 362"/>
                <a:gd name="T85" fmla="*/ 527 h 250"/>
                <a:gd name="T86" fmla="*/ 303 w 362"/>
                <a:gd name="T87" fmla="*/ 517 h 250"/>
                <a:gd name="T88" fmla="*/ 275 w 362"/>
                <a:gd name="T89" fmla="*/ 544 h 250"/>
                <a:gd name="T90" fmla="*/ 232 w 362"/>
                <a:gd name="T91" fmla="*/ 517 h 250"/>
                <a:gd name="T92" fmla="*/ 194 w 362"/>
                <a:gd name="T93" fmla="*/ 503 h 250"/>
                <a:gd name="T94" fmla="*/ 163 w 362"/>
                <a:gd name="T95" fmla="*/ 503 h 250"/>
                <a:gd name="T96" fmla="*/ 169 w 362"/>
                <a:gd name="T97" fmla="*/ 486 h 250"/>
                <a:gd name="T98" fmla="*/ 169 w 362"/>
                <a:gd name="T99" fmla="*/ 478 h 250"/>
                <a:gd name="T100" fmla="*/ 169 w 362"/>
                <a:gd name="T101" fmla="*/ 462 h 250"/>
                <a:gd name="T102" fmla="*/ 179 w 362"/>
                <a:gd name="T103" fmla="*/ 448 h 250"/>
                <a:gd name="T104" fmla="*/ 118 w 362"/>
                <a:gd name="T105" fmla="*/ 431 h 250"/>
                <a:gd name="T106" fmla="*/ 76 w 362"/>
                <a:gd name="T107" fmla="*/ 394 h 250"/>
                <a:gd name="T108" fmla="*/ 70 w 362"/>
                <a:gd name="T109" fmla="*/ 362 h 250"/>
                <a:gd name="T110" fmla="*/ 48 w 362"/>
                <a:gd name="T111" fmla="*/ 348 h 250"/>
                <a:gd name="T112" fmla="*/ 0 w 362"/>
                <a:gd name="T113" fmla="*/ 318 h 25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62"/>
                <a:gd name="T172" fmla="*/ 0 h 250"/>
                <a:gd name="T173" fmla="*/ 362 w 362"/>
                <a:gd name="T174" fmla="*/ 250 h 25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62" h="250">
                  <a:moveTo>
                    <a:pt x="0" y="122"/>
                  </a:moveTo>
                  <a:lnTo>
                    <a:pt x="4" y="122"/>
                  </a:lnTo>
                  <a:lnTo>
                    <a:pt x="8" y="118"/>
                  </a:lnTo>
                  <a:lnTo>
                    <a:pt x="22" y="118"/>
                  </a:lnTo>
                  <a:lnTo>
                    <a:pt x="28" y="114"/>
                  </a:lnTo>
                  <a:lnTo>
                    <a:pt x="40" y="100"/>
                  </a:lnTo>
                  <a:lnTo>
                    <a:pt x="52" y="78"/>
                  </a:lnTo>
                  <a:lnTo>
                    <a:pt x="68" y="42"/>
                  </a:lnTo>
                  <a:lnTo>
                    <a:pt x="78" y="30"/>
                  </a:lnTo>
                  <a:lnTo>
                    <a:pt x="98" y="24"/>
                  </a:lnTo>
                  <a:lnTo>
                    <a:pt x="106" y="16"/>
                  </a:lnTo>
                  <a:lnTo>
                    <a:pt x="108" y="14"/>
                  </a:lnTo>
                  <a:lnTo>
                    <a:pt x="120" y="16"/>
                  </a:lnTo>
                  <a:lnTo>
                    <a:pt x="126" y="14"/>
                  </a:lnTo>
                  <a:lnTo>
                    <a:pt x="142" y="18"/>
                  </a:lnTo>
                  <a:lnTo>
                    <a:pt x="162" y="20"/>
                  </a:lnTo>
                  <a:lnTo>
                    <a:pt x="168" y="18"/>
                  </a:lnTo>
                  <a:lnTo>
                    <a:pt x="168" y="26"/>
                  </a:lnTo>
                  <a:lnTo>
                    <a:pt x="174" y="26"/>
                  </a:lnTo>
                  <a:lnTo>
                    <a:pt x="176" y="30"/>
                  </a:lnTo>
                  <a:lnTo>
                    <a:pt x="182" y="30"/>
                  </a:lnTo>
                  <a:lnTo>
                    <a:pt x="186" y="26"/>
                  </a:lnTo>
                  <a:lnTo>
                    <a:pt x="190" y="20"/>
                  </a:lnTo>
                  <a:lnTo>
                    <a:pt x="224" y="16"/>
                  </a:lnTo>
                  <a:lnTo>
                    <a:pt x="230" y="12"/>
                  </a:lnTo>
                  <a:lnTo>
                    <a:pt x="232" y="2"/>
                  </a:lnTo>
                  <a:lnTo>
                    <a:pt x="242" y="2"/>
                  </a:lnTo>
                  <a:lnTo>
                    <a:pt x="246" y="0"/>
                  </a:lnTo>
                  <a:lnTo>
                    <a:pt x="258" y="4"/>
                  </a:lnTo>
                  <a:lnTo>
                    <a:pt x="270" y="36"/>
                  </a:lnTo>
                  <a:lnTo>
                    <a:pt x="288" y="64"/>
                  </a:lnTo>
                  <a:lnTo>
                    <a:pt x="300" y="72"/>
                  </a:lnTo>
                  <a:lnTo>
                    <a:pt x="306" y="92"/>
                  </a:lnTo>
                  <a:lnTo>
                    <a:pt x="304" y="102"/>
                  </a:lnTo>
                  <a:lnTo>
                    <a:pt x="300" y="128"/>
                  </a:lnTo>
                  <a:lnTo>
                    <a:pt x="302" y="142"/>
                  </a:lnTo>
                  <a:lnTo>
                    <a:pt x="302" y="148"/>
                  </a:lnTo>
                  <a:lnTo>
                    <a:pt x="298" y="150"/>
                  </a:lnTo>
                  <a:lnTo>
                    <a:pt x="302" y="152"/>
                  </a:lnTo>
                  <a:lnTo>
                    <a:pt x="304" y="158"/>
                  </a:lnTo>
                  <a:lnTo>
                    <a:pt x="306" y="158"/>
                  </a:lnTo>
                  <a:lnTo>
                    <a:pt x="308" y="164"/>
                  </a:lnTo>
                  <a:lnTo>
                    <a:pt x="316" y="168"/>
                  </a:lnTo>
                  <a:lnTo>
                    <a:pt x="326" y="170"/>
                  </a:lnTo>
                  <a:lnTo>
                    <a:pt x="326" y="164"/>
                  </a:lnTo>
                  <a:lnTo>
                    <a:pt x="334" y="164"/>
                  </a:lnTo>
                  <a:lnTo>
                    <a:pt x="346" y="158"/>
                  </a:lnTo>
                  <a:lnTo>
                    <a:pt x="358" y="160"/>
                  </a:lnTo>
                  <a:lnTo>
                    <a:pt x="360" y="162"/>
                  </a:lnTo>
                  <a:lnTo>
                    <a:pt x="362" y="170"/>
                  </a:lnTo>
                  <a:lnTo>
                    <a:pt x="356" y="180"/>
                  </a:lnTo>
                  <a:lnTo>
                    <a:pt x="352" y="188"/>
                  </a:lnTo>
                  <a:lnTo>
                    <a:pt x="344" y="190"/>
                  </a:lnTo>
                  <a:lnTo>
                    <a:pt x="338" y="190"/>
                  </a:lnTo>
                  <a:lnTo>
                    <a:pt x="332" y="196"/>
                  </a:lnTo>
                  <a:lnTo>
                    <a:pt x="322" y="210"/>
                  </a:lnTo>
                  <a:lnTo>
                    <a:pt x="318" y="226"/>
                  </a:lnTo>
                  <a:lnTo>
                    <a:pt x="316" y="246"/>
                  </a:lnTo>
                  <a:lnTo>
                    <a:pt x="316" y="250"/>
                  </a:lnTo>
                  <a:lnTo>
                    <a:pt x="304" y="248"/>
                  </a:lnTo>
                  <a:lnTo>
                    <a:pt x="280" y="240"/>
                  </a:lnTo>
                  <a:lnTo>
                    <a:pt x="272" y="234"/>
                  </a:lnTo>
                  <a:lnTo>
                    <a:pt x="266" y="234"/>
                  </a:lnTo>
                  <a:lnTo>
                    <a:pt x="256" y="224"/>
                  </a:lnTo>
                  <a:lnTo>
                    <a:pt x="246" y="224"/>
                  </a:lnTo>
                  <a:lnTo>
                    <a:pt x="234" y="230"/>
                  </a:lnTo>
                  <a:lnTo>
                    <a:pt x="202" y="248"/>
                  </a:lnTo>
                  <a:lnTo>
                    <a:pt x="196" y="248"/>
                  </a:lnTo>
                  <a:lnTo>
                    <a:pt x="172" y="240"/>
                  </a:lnTo>
                  <a:lnTo>
                    <a:pt x="166" y="240"/>
                  </a:lnTo>
                  <a:lnTo>
                    <a:pt x="154" y="246"/>
                  </a:lnTo>
                  <a:lnTo>
                    <a:pt x="148" y="248"/>
                  </a:lnTo>
                  <a:lnTo>
                    <a:pt x="128" y="238"/>
                  </a:lnTo>
                  <a:lnTo>
                    <a:pt x="120" y="238"/>
                  </a:lnTo>
                  <a:lnTo>
                    <a:pt x="106" y="242"/>
                  </a:lnTo>
                  <a:lnTo>
                    <a:pt x="102" y="242"/>
                  </a:lnTo>
                  <a:lnTo>
                    <a:pt x="102" y="238"/>
                  </a:lnTo>
                  <a:lnTo>
                    <a:pt x="106" y="230"/>
                  </a:lnTo>
                  <a:lnTo>
                    <a:pt x="100" y="228"/>
                  </a:lnTo>
                  <a:lnTo>
                    <a:pt x="92" y="224"/>
                  </a:lnTo>
                  <a:lnTo>
                    <a:pt x="84" y="218"/>
                  </a:lnTo>
                  <a:lnTo>
                    <a:pt x="82" y="210"/>
                  </a:lnTo>
                  <a:lnTo>
                    <a:pt x="88" y="206"/>
                  </a:lnTo>
                  <a:lnTo>
                    <a:pt x="94" y="206"/>
                  </a:lnTo>
                  <a:lnTo>
                    <a:pt x="92" y="204"/>
                  </a:lnTo>
                  <a:lnTo>
                    <a:pt x="82" y="196"/>
                  </a:lnTo>
                  <a:lnTo>
                    <a:pt x="78" y="200"/>
                  </a:lnTo>
                  <a:lnTo>
                    <a:pt x="74" y="206"/>
                  </a:lnTo>
                  <a:lnTo>
                    <a:pt x="72" y="210"/>
                  </a:lnTo>
                  <a:lnTo>
                    <a:pt x="64" y="204"/>
                  </a:lnTo>
                  <a:lnTo>
                    <a:pt x="60" y="200"/>
                  </a:lnTo>
                  <a:lnTo>
                    <a:pt x="50" y="200"/>
                  </a:lnTo>
                  <a:lnTo>
                    <a:pt x="50" y="194"/>
                  </a:lnTo>
                  <a:lnTo>
                    <a:pt x="46" y="194"/>
                  </a:lnTo>
                  <a:lnTo>
                    <a:pt x="42" y="194"/>
                  </a:lnTo>
                  <a:lnTo>
                    <a:pt x="40" y="190"/>
                  </a:lnTo>
                  <a:lnTo>
                    <a:pt x="44" y="188"/>
                  </a:lnTo>
                  <a:lnTo>
                    <a:pt x="48" y="186"/>
                  </a:lnTo>
                  <a:lnTo>
                    <a:pt x="44" y="184"/>
                  </a:lnTo>
                  <a:lnTo>
                    <a:pt x="40" y="182"/>
                  </a:lnTo>
                  <a:lnTo>
                    <a:pt x="44" y="178"/>
                  </a:lnTo>
                  <a:lnTo>
                    <a:pt x="46" y="176"/>
                  </a:lnTo>
                  <a:lnTo>
                    <a:pt x="46" y="172"/>
                  </a:lnTo>
                  <a:lnTo>
                    <a:pt x="40" y="170"/>
                  </a:lnTo>
                  <a:lnTo>
                    <a:pt x="30" y="166"/>
                  </a:lnTo>
                  <a:lnTo>
                    <a:pt x="18" y="154"/>
                  </a:lnTo>
                  <a:lnTo>
                    <a:pt x="20" y="152"/>
                  </a:lnTo>
                  <a:lnTo>
                    <a:pt x="18" y="148"/>
                  </a:lnTo>
                  <a:lnTo>
                    <a:pt x="18" y="140"/>
                  </a:lnTo>
                  <a:lnTo>
                    <a:pt x="14" y="140"/>
                  </a:lnTo>
                  <a:lnTo>
                    <a:pt x="12" y="134"/>
                  </a:lnTo>
                  <a:lnTo>
                    <a:pt x="2" y="130"/>
                  </a:lnTo>
                  <a:lnTo>
                    <a:pt x="0" y="122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BF03BF01-231F-4233-A1E2-99DBD127C2DE}"/>
              </a:ext>
            </a:extLst>
          </p:cNvPr>
          <p:cNvCxnSpPr/>
          <p:nvPr/>
        </p:nvCxnSpPr>
        <p:spPr>
          <a:xfrm flipH="1" flipV="1">
            <a:off x="3367930" y="2073288"/>
            <a:ext cx="208663" cy="216024"/>
          </a:xfrm>
          <a:prstGeom prst="straightConnector1">
            <a:avLst/>
          </a:prstGeom>
          <a:ln w="28575">
            <a:solidFill>
              <a:srgbClr val="0066A9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4750EA21-E554-45A2-814F-255E52D91225}"/>
              </a:ext>
            </a:extLst>
          </p:cNvPr>
          <p:cNvCxnSpPr/>
          <p:nvPr/>
        </p:nvCxnSpPr>
        <p:spPr>
          <a:xfrm flipH="1" flipV="1">
            <a:off x="3081654" y="1811225"/>
            <a:ext cx="208663" cy="216024"/>
          </a:xfrm>
          <a:prstGeom prst="straightConnector1">
            <a:avLst/>
          </a:prstGeom>
          <a:ln w="28575">
            <a:solidFill>
              <a:srgbClr val="0066A9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1BB642B0-6CBC-4A24-AB4D-07826D4C0308}"/>
                  </a:ext>
                </a:extLst>
              </p:cNvPr>
              <p:cNvSpPr txBox="1"/>
              <p:nvPr/>
            </p:nvSpPr>
            <p:spPr>
              <a:xfrm>
                <a:off x="1755339" y="2105544"/>
                <a:ext cx="1287532" cy="553998"/>
              </a:xfrm>
              <a:prstGeom prst="rect">
                <a:avLst/>
              </a:prstGeom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de-DE" sz="1000" b="1" i="1" dirty="0" smtClean="0">
                        <a:solidFill>
                          <a:srgbClr val="0066AA"/>
                        </a:solidFill>
                        <a:latin typeface="Cambria Math"/>
                      </a:rPr>
                      <m:t>𝑷𝑽𝒂𝒓</m:t>
                    </m:r>
                  </m:oMath>
                </a14:m>
                <a:r>
                  <a:rPr lang="de-DE" sz="1000" b="1" dirty="0">
                    <a:solidFill>
                      <a:srgbClr val="0066AA"/>
                    </a:solidFill>
                  </a:rPr>
                  <a:t> = 273.748.000 €</a:t>
                </a:r>
              </a:p>
              <a:p>
                <a:r>
                  <a:rPr lang="de-DE" sz="1000" b="1" dirty="0"/>
                  <a:t>f = 0,75</a:t>
                </a:r>
              </a:p>
              <a:p>
                <a:r>
                  <a:rPr lang="de-DE" sz="1000" b="1" dirty="0" err="1">
                    <a:solidFill>
                      <a:srgbClr val="005C2A"/>
                    </a:solidFill>
                  </a:rPr>
                  <a:t>PVuc</a:t>
                </a:r>
                <a:r>
                  <a:rPr lang="de-DE" sz="1000" b="1" dirty="0">
                    <a:solidFill>
                      <a:srgbClr val="005C2A"/>
                    </a:solidFill>
                  </a:rPr>
                  <a:t> = 205.311.000 €</a:t>
                </a:r>
                <a:endParaRPr lang="en-GB" sz="1000" b="1" dirty="0">
                  <a:solidFill>
                    <a:srgbClr val="005C2A"/>
                  </a:solidFill>
                </a:endParaRPr>
              </a:p>
            </p:txBody>
          </p:sp>
        </mc:Choice>
        <mc:Fallback xmlns=""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1BB642B0-6CBC-4A24-AB4D-07826D4C030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55339" y="2105544"/>
                <a:ext cx="1287532" cy="55399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Textfeld 15">
            <a:extLst>
              <a:ext uri="{FF2B5EF4-FFF2-40B4-BE49-F238E27FC236}">
                <a16:creationId xmlns:a16="http://schemas.microsoft.com/office/drawing/2014/main" id="{B322071D-4BC6-454C-B9B6-99E9999095EF}"/>
              </a:ext>
            </a:extLst>
          </p:cNvPr>
          <p:cNvSpPr txBox="1"/>
          <p:nvPr/>
        </p:nvSpPr>
        <p:spPr>
          <a:xfrm>
            <a:off x="5668751" y="1469152"/>
            <a:ext cx="8002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</a:rPr>
              <a:t>2,69 % m3</a:t>
            </a:r>
            <a:endParaRPr lang="en-GB" sz="1000" b="1" dirty="0">
              <a:solidFill>
                <a:schemeClr val="bg1"/>
              </a:solidFill>
            </a:endParaRPr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4B4D4F21-1286-4546-806E-7D54437AFCAF}"/>
              </a:ext>
            </a:extLst>
          </p:cNvPr>
          <p:cNvSpPr/>
          <p:nvPr/>
        </p:nvSpPr>
        <p:spPr>
          <a:xfrm>
            <a:off x="4207756" y="1811225"/>
            <a:ext cx="46038" cy="46038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000"/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570A213F-106A-4CB0-99BA-F136F7F57058}"/>
              </a:ext>
            </a:extLst>
          </p:cNvPr>
          <p:cNvSpPr/>
          <p:nvPr/>
        </p:nvSpPr>
        <p:spPr>
          <a:xfrm>
            <a:off x="3242286" y="1615635"/>
            <a:ext cx="46038" cy="46038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000"/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EA741EC4-30BD-4CF8-87BE-7E2383BC4380}"/>
              </a:ext>
            </a:extLst>
          </p:cNvPr>
          <p:cNvSpPr/>
          <p:nvPr/>
        </p:nvSpPr>
        <p:spPr>
          <a:xfrm>
            <a:off x="3304503" y="2027249"/>
            <a:ext cx="46038" cy="46038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sz="1000" dirty="0"/>
              <a:t>c</a:t>
            </a:r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3D87D115-1E25-4E3E-A704-48B004B545C5}"/>
              </a:ext>
            </a:extLst>
          </p:cNvPr>
          <p:cNvSpPr/>
          <p:nvPr/>
        </p:nvSpPr>
        <p:spPr>
          <a:xfrm>
            <a:off x="4894880" y="3065707"/>
            <a:ext cx="46038" cy="46038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000"/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483DA0F0-B07D-48CC-9498-FF94120D966B}"/>
              </a:ext>
            </a:extLst>
          </p:cNvPr>
          <p:cNvSpPr/>
          <p:nvPr/>
        </p:nvSpPr>
        <p:spPr>
          <a:xfrm>
            <a:off x="7980925" y="3686062"/>
            <a:ext cx="46038" cy="46038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000"/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428DF8DD-E228-41DE-B445-876128D363D3}"/>
              </a:ext>
            </a:extLst>
          </p:cNvPr>
          <p:cNvSpPr/>
          <p:nvPr/>
        </p:nvSpPr>
        <p:spPr>
          <a:xfrm>
            <a:off x="7827987" y="4351907"/>
            <a:ext cx="46038" cy="46038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000"/>
          </a:p>
        </p:txBody>
      </p:sp>
      <p:pic>
        <p:nvPicPr>
          <p:cNvPr id="23" name="Picture 2">
            <a:extLst>
              <a:ext uri="{FF2B5EF4-FFF2-40B4-BE49-F238E27FC236}">
                <a16:creationId xmlns:a16="http://schemas.microsoft.com/office/drawing/2014/main" id="{175F2C25-8948-4495-85C0-8BFBC9CC25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7471" y="1772447"/>
            <a:ext cx="413712" cy="277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Ellipse 23">
            <a:extLst>
              <a:ext uri="{FF2B5EF4-FFF2-40B4-BE49-F238E27FC236}">
                <a16:creationId xmlns:a16="http://schemas.microsoft.com/office/drawing/2014/main" id="{76E5DC3B-1556-44CB-8E27-2A8B6B979BC9}"/>
              </a:ext>
            </a:extLst>
          </p:cNvPr>
          <p:cNvSpPr/>
          <p:nvPr/>
        </p:nvSpPr>
        <p:spPr>
          <a:xfrm>
            <a:off x="2833464" y="1813011"/>
            <a:ext cx="46038" cy="45719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000"/>
          </a:p>
        </p:txBody>
      </p:sp>
      <p:pic>
        <p:nvPicPr>
          <p:cNvPr id="25" name="Picture 2">
            <a:extLst>
              <a:ext uri="{FF2B5EF4-FFF2-40B4-BE49-F238E27FC236}">
                <a16:creationId xmlns:a16="http://schemas.microsoft.com/office/drawing/2014/main" id="{1C0BFF35-9B9E-4EB3-BE53-A2522637FF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1360" y="1711046"/>
            <a:ext cx="554679" cy="2784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4" descr="Bildergebnis für romania flag">
            <a:extLst>
              <a:ext uri="{FF2B5EF4-FFF2-40B4-BE49-F238E27FC236}">
                <a16:creationId xmlns:a16="http://schemas.microsoft.com/office/drawing/2014/main" id="{2C58B074-9E4D-4AD7-AE99-0B24DAEED7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0245" y="3919844"/>
            <a:ext cx="504056" cy="336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7" name="Textfeld 26">
                <a:extLst>
                  <a:ext uri="{FF2B5EF4-FFF2-40B4-BE49-F238E27FC236}">
                    <a16:creationId xmlns:a16="http://schemas.microsoft.com/office/drawing/2014/main" id="{A242FDB1-7329-4353-A3D7-68DA301C3B82}"/>
                  </a:ext>
                </a:extLst>
              </p:cNvPr>
              <p:cNvSpPr txBox="1"/>
              <p:nvPr/>
            </p:nvSpPr>
            <p:spPr>
              <a:xfrm>
                <a:off x="3701168" y="2092228"/>
                <a:ext cx="1287532" cy="553998"/>
              </a:xfrm>
              <a:prstGeom prst="rect">
                <a:avLst/>
              </a:prstGeom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de-DE" sz="1000" b="1" i="1" dirty="0" smtClean="0">
                        <a:solidFill>
                          <a:srgbClr val="0066AA"/>
                        </a:solidFill>
                        <a:latin typeface="Cambria Math"/>
                      </a:rPr>
                      <m:t>𝑷𝑽𝒂𝒓</m:t>
                    </m:r>
                    <m:r>
                      <a:rPr lang="de-DE" sz="1000" b="1" i="1" dirty="0" smtClean="0">
                        <a:solidFill>
                          <a:srgbClr val="0066AA"/>
                        </a:solidFill>
                        <a:latin typeface="Cambria Math"/>
                      </a:rPr>
                      <m:t> </m:t>
                    </m:r>
                  </m:oMath>
                </a14:m>
                <a:r>
                  <a:rPr lang="de-DE" sz="1000" b="1" dirty="0">
                    <a:solidFill>
                      <a:srgbClr val="0066AA"/>
                    </a:solidFill>
                  </a:rPr>
                  <a:t>= 704.277.064 €</a:t>
                </a:r>
              </a:p>
              <a:p>
                <a:r>
                  <a:rPr lang="de-DE" sz="1000" b="1" dirty="0"/>
                  <a:t>f = 1</a:t>
                </a:r>
              </a:p>
              <a:p>
                <a:r>
                  <a:rPr lang="de-DE" sz="1000" b="1" dirty="0" err="1">
                    <a:solidFill>
                      <a:srgbClr val="005C2A"/>
                    </a:solidFill>
                  </a:rPr>
                  <a:t>PVuc</a:t>
                </a:r>
                <a:r>
                  <a:rPr lang="de-DE" sz="1000" b="1" dirty="0">
                    <a:solidFill>
                      <a:srgbClr val="005C2A"/>
                    </a:solidFill>
                  </a:rPr>
                  <a:t> = 704.277.063 €</a:t>
                </a:r>
                <a:endParaRPr lang="en-GB" sz="1000" b="1" dirty="0">
                  <a:solidFill>
                    <a:srgbClr val="005C2A"/>
                  </a:solidFill>
                </a:endParaRPr>
              </a:p>
            </p:txBody>
          </p:sp>
        </mc:Choice>
        <mc:Fallback xmlns="">
          <p:sp>
            <p:nvSpPr>
              <p:cNvPr id="27" name="Textfeld 26">
                <a:extLst>
                  <a:ext uri="{FF2B5EF4-FFF2-40B4-BE49-F238E27FC236}">
                    <a16:creationId xmlns:a16="http://schemas.microsoft.com/office/drawing/2014/main" id="{A242FDB1-7329-4353-A3D7-68DA301C3B8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01168" y="2092228"/>
                <a:ext cx="1287532" cy="553998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Inhaltsplatzhalter 63">
                <a:extLst>
                  <a:ext uri="{FF2B5EF4-FFF2-40B4-BE49-F238E27FC236}">
                    <a16:creationId xmlns:a16="http://schemas.microsoft.com/office/drawing/2014/main" id="{6D83EEDA-52B3-41E4-9A07-284DA66F196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557" y="3376003"/>
                <a:ext cx="2191626" cy="1733808"/>
              </a:xfrm>
              <a:prstGeom prst="rect">
                <a:avLst/>
              </a:prstGeom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rtlCol="0">
                <a:spAutoFit/>
              </a:bodyPr>
              <a:lstStyle>
                <a:lvl1pPr marL="0" indent="0" algn="l" defTabSz="914400" rtl="0" eaLnBrk="1" latinLnBrk="0" hangingPunct="1">
                  <a:spcBef>
                    <a:spcPts val="500"/>
                  </a:spcBef>
                  <a:buFont typeface="Arial" pitchFamily="34" charset="0"/>
                  <a:buNone/>
                  <a:defRPr sz="1600" kern="1200">
                    <a:solidFill>
                      <a:schemeClr val="tx1"/>
                    </a:solidFill>
                    <a:latin typeface="+mj-lt"/>
                    <a:ea typeface="+mn-ea"/>
                    <a:cs typeface="Arial" pitchFamily="34" charset="0"/>
                  </a:defRPr>
                </a:lvl1pPr>
                <a:lvl2pPr marL="268288" indent="-268288" algn="l" defTabSz="914400" rtl="0" eaLnBrk="1" latinLnBrk="0" hangingPunct="1">
                  <a:spcBef>
                    <a:spcPts val="500"/>
                  </a:spcBef>
                  <a:buClr>
                    <a:srgbClr val="0066A9"/>
                  </a:buClr>
                  <a:buFont typeface="Arial" panose="020B0604020202020204" pitchFamily="34" charset="0"/>
                  <a:buChar char="&gt;"/>
                  <a:defRPr sz="1600" kern="1200">
                    <a:solidFill>
                      <a:schemeClr val="tx1"/>
                    </a:solidFill>
                    <a:latin typeface="+mj-lt"/>
                    <a:ea typeface="+mn-ea"/>
                    <a:cs typeface="Arial" pitchFamily="34" charset="0"/>
                  </a:defRPr>
                </a:lvl2pPr>
                <a:lvl3pPr marL="536575" indent="-268288" algn="l" defTabSz="914400" rtl="0" eaLnBrk="1" latinLnBrk="0" hangingPunct="1">
                  <a:spcBef>
                    <a:spcPts val="400"/>
                  </a:spcBef>
                  <a:buClr>
                    <a:srgbClr val="0066A9"/>
                  </a:buClr>
                  <a:buFont typeface="Wingdings" panose="05000000000000000000" pitchFamily="2" charset="2"/>
                  <a:buChar char=""/>
                  <a:defRPr sz="1600" kern="1200">
                    <a:solidFill>
                      <a:schemeClr val="tx1"/>
                    </a:solidFill>
                    <a:latin typeface="+mj-lt"/>
                    <a:ea typeface="+mn-ea"/>
                    <a:cs typeface="Arial" pitchFamily="34" charset="0"/>
                  </a:defRPr>
                </a:lvl3pPr>
                <a:lvl4pPr marL="720725" indent="-273050" algn="l" defTabSz="914400" rtl="0" eaLnBrk="1" latinLnBrk="0" hangingPunct="1">
                  <a:spcBef>
                    <a:spcPts val="400"/>
                  </a:spcBef>
                  <a:buFont typeface="Symbol" panose="05050102010706020507" pitchFamily="18" charset="2"/>
                  <a:buChar char="-"/>
                  <a:defRPr sz="1600" kern="1200">
                    <a:solidFill>
                      <a:schemeClr val="tx1"/>
                    </a:solidFill>
                    <a:latin typeface="+mj-lt"/>
                    <a:ea typeface="+mn-ea"/>
                    <a:cs typeface="Arial" pitchFamily="34" charset="0"/>
                  </a:defRPr>
                </a:lvl4pPr>
                <a:lvl5pPr marL="896938" indent="-269875" algn="l" defTabSz="914400" rtl="0" eaLnBrk="1" latinLnBrk="0" hangingPunct="1">
                  <a:spcBef>
                    <a:spcPts val="400"/>
                  </a:spcBef>
                  <a:buFont typeface="Arial" pitchFamily="34" charset="0"/>
                  <a:buChar char="–"/>
                  <a:defRPr sz="1600" kern="1200">
                    <a:solidFill>
                      <a:schemeClr val="tx1"/>
                    </a:solidFill>
                    <a:latin typeface="+mj-lt"/>
                    <a:ea typeface="+mn-ea"/>
                    <a:cs typeface="Arial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de-DE" sz="1800" b="1" dirty="0"/>
                  <a:t>Economic </a:t>
                </a:r>
                <a:r>
                  <a:rPr lang="de-DE" sz="1800" b="1" dirty="0" err="1"/>
                  <a:t>test</a:t>
                </a:r>
                <a:endParaRPr lang="de-DE" sz="1800" b="1" dirty="0"/>
              </a:p>
              <a:p>
                <a:endParaRPr lang="de-DE" sz="1800" b="1" i="1" dirty="0">
                  <a:latin typeface="Cambria Math"/>
                </a:endParaRPr>
              </a:p>
              <a:p>
                <a14:m>
                  <m:oMath xmlns:m="http://schemas.openxmlformats.org/officeDocument/2006/math">
                    <m:r>
                      <a:rPr lang="de-DE" sz="1800" b="1" i="1" dirty="0" smtClean="0">
                        <a:solidFill>
                          <a:srgbClr val="0066AA"/>
                        </a:solidFill>
                        <a:highlight>
                          <a:srgbClr val="FFFF00"/>
                        </a:highlight>
                        <a:latin typeface="Cambria Math"/>
                      </a:rPr>
                      <m:t>𝑷𝑽𝒂𝒓</m:t>
                    </m:r>
                  </m:oMath>
                </a14:m>
                <a:r>
                  <a:rPr lang="de-DE" sz="1800" b="1" dirty="0">
                    <a:solidFill>
                      <a:srgbClr val="0066AA"/>
                    </a:solidFill>
                    <a:highlight>
                      <a:srgbClr val="FFFF00"/>
                    </a:highlight>
                  </a:rPr>
                  <a:t> = 978.025.064 €</a:t>
                </a:r>
              </a:p>
              <a:p>
                <a:r>
                  <a:rPr lang="de-DE" sz="1800" b="1" dirty="0"/>
                  <a:t>f ~ 0,93</a:t>
                </a:r>
              </a:p>
              <a:p>
                <a:r>
                  <a:rPr lang="de-DE" sz="1800" b="1" i="1" dirty="0">
                    <a:solidFill>
                      <a:srgbClr val="005C2A"/>
                    </a:solidFill>
                  </a:rPr>
                  <a:t>PV </a:t>
                </a:r>
                <a:r>
                  <a:rPr lang="de-DE" sz="1800" b="1" i="1" dirty="0" err="1">
                    <a:solidFill>
                      <a:srgbClr val="005C2A"/>
                    </a:solidFill>
                  </a:rPr>
                  <a:t>uc</a:t>
                </a:r>
                <a:r>
                  <a:rPr lang="de-DE" sz="1800" b="1" i="1" dirty="0">
                    <a:solidFill>
                      <a:srgbClr val="005C2A"/>
                    </a:solidFill>
                  </a:rPr>
                  <a:t> </a:t>
                </a:r>
                <a:r>
                  <a:rPr lang="de-DE" sz="1800" b="1" dirty="0">
                    <a:solidFill>
                      <a:srgbClr val="005C2A"/>
                    </a:solidFill>
                  </a:rPr>
                  <a:t>= 909.588.064 €</a:t>
                </a:r>
                <a:endParaRPr lang="en-GB" sz="1800" b="1" dirty="0">
                  <a:solidFill>
                    <a:srgbClr val="005C2A"/>
                  </a:solidFill>
                </a:endParaRPr>
              </a:p>
            </p:txBody>
          </p:sp>
        </mc:Choice>
        <mc:Fallback xmlns="">
          <p:sp>
            <p:nvSpPr>
              <p:cNvPr id="28" name="Inhaltsplatzhalter 63">
                <a:extLst>
                  <a:ext uri="{FF2B5EF4-FFF2-40B4-BE49-F238E27FC236}">
                    <a16:creationId xmlns:a16="http://schemas.microsoft.com/office/drawing/2014/main" id="{6D83EEDA-52B3-41E4-9A07-284DA66F196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557" y="3376003"/>
                <a:ext cx="2191626" cy="1733808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9149054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27" grpId="0" animBg="1"/>
      <p:bldP spid="28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6" name="Rechteck: obere Ecken abgerundet 5"/>
          <p:cNvSpPr/>
          <p:nvPr/>
        </p:nvSpPr>
        <p:spPr>
          <a:xfrm rot="16200000">
            <a:off x="5901552" y="-801587"/>
            <a:ext cx="540000" cy="5976937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b="1" dirty="0">
              <a:solidFill>
                <a:schemeClr val="accent1"/>
              </a:solidFill>
            </a:endParaRPr>
          </a:p>
        </p:txBody>
      </p:sp>
      <p:sp>
        <p:nvSpPr>
          <p:cNvPr id="7" name="Rechteck: obere Ecken abgerundet 6"/>
          <p:cNvSpPr/>
          <p:nvPr/>
        </p:nvSpPr>
        <p:spPr>
          <a:xfrm rot="16200000">
            <a:off x="5901554" y="-132641"/>
            <a:ext cx="540000" cy="5976937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b="1" u="none" dirty="0">
              <a:solidFill>
                <a:schemeClr val="bg1"/>
              </a:solidFill>
            </a:endParaRPr>
          </a:p>
        </p:txBody>
      </p:sp>
      <p:sp>
        <p:nvSpPr>
          <p:cNvPr id="8" name="Rechteck: obere Ecken abgerundet 7"/>
          <p:cNvSpPr/>
          <p:nvPr/>
        </p:nvSpPr>
        <p:spPr>
          <a:xfrm rot="16200000">
            <a:off x="5901553" y="-1499185"/>
            <a:ext cx="540000" cy="5976937"/>
          </a:xfrm>
          <a:prstGeom prst="round2SameRect">
            <a:avLst>
              <a:gd name="adj1" fmla="val 17861"/>
              <a:gd name="adj2" fmla="val 0"/>
            </a:avLst>
          </a:prstGeom>
          <a:solidFill>
            <a:schemeClr val="bg1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216000" rIns="0" rtlCol="0" anchor="ctr"/>
          <a:lstStyle/>
          <a:p>
            <a:endParaRPr lang="de-DE" b="1" dirty="0">
              <a:solidFill>
                <a:schemeClr val="accent1"/>
              </a:solidFill>
            </a:endParaRPr>
          </a:p>
        </p:txBody>
      </p:sp>
      <p:sp>
        <p:nvSpPr>
          <p:cNvPr id="9" name="Rechteck: obere Ecken abgerundet 8"/>
          <p:cNvSpPr/>
          <p:nvPr/>
        </p:nvSpPr>
        <p:spPr>
          <a:xfrm rot="16200000">
            <a:off x="5901553" y="595328"/>
            <a:ext cx="540000" cy="5976937"/>
          </a:xfrm>
          <a:prstGeom prst="round2SameRect">
            <a:avLst>
              <a:gd name="adj1" fmla="val 17861"/>
              <a:gd name="adj2" fmla="val 0"/>
            </a:avLst>
          </a:prstGeom>
          <a:solidFill>
            <a:srgbClr val="0066A9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b="1" dirty="0">
              <a:solidFill>
                <a:schemeClr val="accent1"/>
              </a:solidFill>
            </a:endParaRPr>
          </a:p>
        </p:txBody>
      </p:sp>
      <p:sp>
        <p:nvSpPr>
          <p:cNvPr id="10" name="Rechteck: obere Ecken abgerundet 9"/>
          <p:cNvSpPr/>
          <p:nvPr/>
        </p:nvSpPr>
        <p:spPr>
          <a:xfrm rot="16200000">
            <a:off x="5901553" y="1293501"/>
            <a:ext cx="540000" cy="5976937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b="1" dirty="0">
              <a:solidFill>
                <a:schemeClr val="accent1"/>
              </a:solidFill>
            </a:endParaRPr>
          </a:p>
        </p:txBody>
      </p:sp>
      <p:sp>
        <p:nvSpPr>
          <p:cNvPr id="11" name="Inhaltsplatzhalter 5"/>
          <p:cNvSpPr txBox="1">
            <a:spLocks/>
          </p:cNvSpPr>
          <p:nvPr/>
        </p:nvSpPr>
        <p:spPr>
          <a:xfrm>
            <a:off x="3455876" y="1302263"/>
            <a:ext cx="5364274" cy="374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800" b="1" kern="1200">
                <a:solidFill>
                  <a:schemeClr val="bg1"/>
                </a:solidFill>
                <a:latin typeface="+mj-lt"/>
                <a:ea typeface="+mn-ea"/>
                <a:cs typeface="Arial" pitchFamily="34" charset="0"/>
              </a:defRPr>
            </a:lvl1pPr>
            <a:lvl2pPr marL="179388" indent="-179388" algn="l" defTabSz="914400" rtl="0" eaLnBrk="1" latinLnBrk="0" hangingPunct="1">
              <a:spcBef>
                <a:spcPts val="5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47675" indent="-268288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7063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0" dirty="0">
                <a:solidFill>
                  <a:schemeClr val="accent1"/>
                </a:solidFill>
              </a:rPr>
              <a:t>1. </a:t>
            </a:r>
            <a:r>
              <a:rPr lang="de-DE" b="0" dirty="0">
                <a:solidFill>
                  <a:srgbClr val="0066A9"/>
                </a:solidFill>
              </a:rPr>
              <a:t>ROHUAT </a:t>
            </a:r>
            <a:r>
              <a:rPr lang="de-DE" b="0" dirty="0" err="1">
                <a:solidFill>
                  <a:srgbClr val="0066A9"/>
                </a:solidFill>
              </a:rPr>
              <a:t>status</a:t>
            </a:r>
            <a:r>
              <a:rPr lang="de-DE" b="0" dirty="0">
                <a:solidFill>
                  <a:srgbClr val="0066A9"/>
                </a:solidFill>
              </a:rPr>
              <a:t> on 27 April 2017</a:t>
            </a:r>
            <a:endParaRPr lang="de-DE" b="0" dirty="0">
              <a:solidFill>
                <a:schemeClr val="accent1"/>
              </a:solidFill>
            </a:endParaRPr>
          </a:p>
        </p:txBody>
      </p:sp>
      <p:sp>
        <p:nvSpPr>
          <p:cNvPr id="12" name="Inhaltsplatzhalter 5"/>
          <p:cNvSpPr txBox="1">
            <a:spLocks/>
          </p:cNvSpPr>
          <p:nvPr/>
        </p:nvSpPr>
        <p:spPr>
          <a:xfrm>
            <a:off x="3455876" y="2000434"/>
            <a:ext cx="5364274" cy="374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800" b="0" kern="1200" baseline="0">
                <a:solidFill>
                  <a:schemeClr val="accent1"/>
                </a:solidFill>
                <a:latin typeface="+mj-lt"/>
                <a:ea typeface="+mn-ea"/>
                <a:cs typeface="Arial" pitchFamily="34" charset="0"/>
              </a:defRPr>
            </a:lvl1pPr>
            <a:lvl2pPr marL="179388" indent="-179388" algn="l" defTabSz="914400" rtl="0" eaLnBrk="1" latinLnBrk="0" hangingPunct="1">
              <a:spcBef>
                <a:spcPts val="5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47675" indent="-268288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7063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rgbClr val="0066A9"/>
                </a:solidFill>
              </a:rPr>
              <a:t>2. ROHU     </a:t>
            </a:r>
            <a:r>
              <a:rPr lang="de-DE" dirty="0" err="1">
                <a:solidFill>
                  <a:srgbClr val="0066A9"/>
                </a:solidFill>
              </a:rPr>
              <a:t>status</a:t>
            </a:r>
            <a:r>
              <a:rPr lang="de-DE" dirty="0">
                <a:solidFill>
                  <a:srgbClr val="0066A9"/>
                </a:solidFill>
              </a:rPr>
              <a:t> on 12 </a:t>
            </a:r>
            <a:r>
              <a:rPr lang="de-DE" dirty="0" err="1">
                <a:solidFill>
                  <a:srgbClr val="0066A9"/>
                </a:solidFill>
              </a:rPr>
              <a:t>October</a:t>
            </a:r>
            <a:r>
              <a:rPr lang="de-DE" dirty="0">
                <a:solidFill>
                  <a:srgbClr val="0066A9"/>
                </a:solidFill>
              </a:rPr>
              <a:t> 2017 </a:t>
            </a:r>
            <a:r>
              <a:rPr lang="de-DE" b="1" dirty="0">
                <a:solidFill>
                  <a:schemeClr val="bg1"/>
                </a:solidFill>
              </a:rPr>
              <a:t>Musterabschnitt</a:t>
            </a:r>
          </a:p>
        </p:txBody>
      </p:sp>
      <p:sp>
        <p:nvSpPr>
          <p:cNvPr id="13" name="Inhaltsplatzhalter 5"/>
          <p:cNvSpPr txBox="1">
            <a:spLocks/>
          </p:cNvSpPr>
          <p:nvPr/>
        </p:nvSpPr>
        <p:spPr>
          <a:xfrm>
            <a:off x="3455876" y="2698605"/>
            <a:ext cx="5364274" cy="374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Arial" pitchFamily="34" charset="0"/>
              </a:defRPr>
            </a:lvl1pPr>
            <a:lvl2pPr marL="179388" indent="-179388" algn="l" defTabSz="914400" rtl="0" eaLnBrk="1" latinLnBrk="0" hangingPunct="1">
              <a:spcBef>
                <a:spcPts val="5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47675" indent="-268288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7063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rgbClr val="0066A9"/>
                </a:solidFill>
              </a:rPr>
              <a:t>3. HUAT (</a:t>
            </a:r>
            <a:r>
              <a:rPr lang="de-DE" dirty="0" err="1">
                <a:solidFill>
                  <a:srgbClr val="0066A9"/>
                </a:solidFill>
              </a:rPr>
              <a:t>Mosonmagyarovar</a:t>
            </a:r>
            <a:r>
              <a:rPr lang="de-DE" dirty="0">
                <a:solidFill>
                  <a:srgbClr val="0066A9"/>
                </a:solidFill>
              </a:rPr>
              <a:t>)  </a:t>
            </a:r>
            <a:r>
              <a:rPr lang="de-DE" dirty="0" err="1">
                <a:solidFill>
                  <a:srgbClr val="0066A9"/>
                </a:solidFill>
              </a:rPr>
              <a:t>status</a:t>
            </a:r>
            <a:r>
              <a:rPr lang="de-DE" dirty="0">
                <a:solidFill>
                  <a:srgbClr val="0066A9"/>
                </a:solidFill>
              </a:rPr>
              <a:t>  on 06 June 2018 </a:t>
            </a:r>
          </a:p>
        </p:txBody>
      </p:sp>
      <p:sp>
        <p:nvSpPr>
          <p:cNvPr id="14" name="Inhaltsplatzhalter 5"/>
          <p:cNvSpPr txBox="1">
            <a:spLocks/>
          </p:cNvSpPr>
          <p:nvPr/>
        </p:nvSpPr>
        <p:spPr>
          <a:xfrm>
            <a:off x="3455876" y="3396776"/>
            <a:ext cx="5364274" cy="374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Arial" pitchFamily="34" charset="0"/>
              </a:defRPr>
            </a:lvl1pPr>
            <a:lvl2pPr marL="179388" indent="-179388" algn="l" defTabSz="914400" rtl="0" eaLnBrk="1" latinLnBrk="0" hangingPunct="1">
              <a:spcBef>
                <a:spcPts val="5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47675" indent="-268288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7063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bg1"/>
                </a:solidFill>
              </a:rPr>
              <a:t>4. HUSKAT  </a:t>
            </a:r>
            <a:r>
              <a:rPr lang="de-DE" dirty="0" err="1">
                <a:solidFill>
                  <a:schemeClr val="bg1"/>
                </a:solidFill>
              </a:rPr>
              <a:t>status</a:t>
            </a:r>
            <a:r>
              <a:rPr lang="de-DE" dirty="0">
                <a:solidFill>
                  <a:schemeClr val="bg1"/>
                </a:solidFill>
              </a:rPr>
              <a:t> on 06 June 2018</a:t>
            </a:r>
          </a:p>
        </p:txBody>
      </p:sp>
      <p:sp>
        <p:nvSpPr>
          <p:cNvPr id="15" name="Inhaltsplatzhalter 5"/>
          <p:cNvSpPr txBox="1">
            <a:spLocks/>
          </p:cNvSpPr>
          <p:nvPr/>
        </p:nvSpPr>
        <p:spPr>
          <a:xfrm>
            <a:off x="3455876" y="4094949"/>
            <a:ext cx="5364274" cy="374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Arial" pitchFamily="34" charset="0"/>
              </a:defRPr>
            </a:lvl1pPr>
            <a:lvl2pPr marL="179388" indent="-179388" algn="l" defTabSz="914400" rtl="0" eaLnBrk="1" latinLnBrk="0" hangingPunct="1">
              <a:spcBef>
                <a:spcPts val="5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47675" indent="-268288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7063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5. </a:t>
            </a:r>
            <a:r>
              <a:rPr lang="de-DE" dirty="0" err="1"/>
              <a:t>Conclus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6705364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F7BB38-3539-4186-81EA-78183AAC1B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Tariffs overview HUSKAT 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D784ACF-6B3C-470E-86EE-9F2E71433A46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76DE41C-723A-4A37-9297-237F7E52E71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8</a:t>
            </a:fld>
            <a:endParaRPr lang="de-DE" dirty="0"/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EE26A171-4428-436A-A4F6-CECF865B5DE7}"/>
              </a:ext>
            </a:extLst>
          </p:cNvPr>
          <p:cNvGrpSpPr/>
          <p:nvPr/>
        </p:nvGrpSpPr>
        <p:grpSpPr>
          <a:xfrm>
            <a:off x="107504" y="1059582"/>
            <a:ext cx="9577064" cy="4639134"/>
            <a:chOff x="3017105" y="3276623"/>
            <a:chExt cx="1865946" cy="736740"/>
          </a:xfrm>
        </p:grpSpPr>
        <p:sp>
          <p:nvSpPr>
            <p:cNvPr id="8" name="Freeform 26">
              <a:extLst>
                <a:ext uri="{FF2B5EF4-FFF2-40B4-BE49-F238E27FC236}">
                  <a16:creationId xmlns:a16="http://schemas.microsoft.com/office/drawing/2014/main" id="{3872F46B-8624-4F5F-998C-6E438C6A738E}"/>
                </a:ext>
              </a:extLst>
            </p:cNvPr>
            <p:cNvSpPr>
              <a:spLocks/>
            </p:cNvSpPr>
            <p:nvPr/>
          </p:nvSpPr>
          <p:spPr bwMode="gray">
            <a:xfrm>
              <a:off x="3017105" y="3363838"/>
              <a:ext cx="722968" cy="330500"/>
            </a:xfrm>
            <a:custGeom>
              <a:avLst/>
              <a:gdLst>
                <a:gd name="T0" fmla="*/ 31 w 302"/>
                <a:gd name="T1" fmla="*/ 209 h 148"/>
                <a:gd name="T2" fmla="*/ 48 w 302"/>
                <a:gd name="T3" fmla="*/ 207 h 148"/>
                <a:gd name="T4" fmla="*/ 70 w 302"/>
                <a:gd name="T5" fmla="*/ 215 h 148"/>
                <a:gd name="T6" fmla="*/ 86 w 302"/>
                <a:gd name="T7" fmla="*/ 229 h 148"/>
                <a:gd name="T8" fmla="*/ 100 w 302"/>
                <a:gd name="T9" fmla="*/ 244 h 148"/>
                <a:gd name="T10" fmla="*/ 138 w 302"/>
                <a:gd name="T11" fmla="*/ 224 h 148"/>
                <a:gd name="T12" fmla="*/ 155 w 302"/>
                <a:gd name="T13" fmla="*/ 207 h 148"/>
                <a:gd name="T14" fmla="*/ 198 w 302"/>
                <a:gd name="T15" fmla="*/ 209 h 148"/>
                <a:gd name="T16" fmla="*/ 217 w 302"/>
                <a:gd name="T17" fmla="*/ 229 h 148"/>
                <a:gd name="T18" fmla="*/ 275 w 302"/>
                <a:gd name="T19" fmla="*/ 220 h 148"/>
                <a:gd name="T20" fmla="*/ 303 w 302"/>
                <a:gd name="T21" fmla="*/ 209 h 148"/>
                <a:gd name="T22" fmla="*/ 392 w 302"/>
                <a:gd name="T23" fmla="*/ 198 h 148"/>
                <a:gd name="T24" fmla="*/ 429 w 302"/>
                <a:gd name="T25" fmla="*/ 184 h 148"/>
                <a:gd name="T26" fmla="*/ 477 w 302"/>
                <a:gd name="T27" fmla="*/ 189 h 148"/>
                <a:gd name="T28" fmla="*/ 486 w 302"/>
                <a:gd name="T29" fmla="*/ 207 h 148"/>
                <a:gd name="T30" fmla="*/ 523 w 302"/>
                <a:gd name="T31" fmla="*/ 215 h 148"/>
                <a:gd name="T32" fmla="*/ 523 w 302"/>
                <a:gd name="T33" fmla="*/ 184 h 148"/>
                <a:gd name="T34" fmla="*/ 516 w 302"/>
                <a:gd name="T35" fmla="*/ 164 h 148"/>
                <a:gd name="T36" fmla="*/ 499 w 302"/>
                <a:gd name="T37" fmla="*/ 106 h 148"/>
                <a:gd name="T38" fmla="*/ 577 w 302"/>
                <a:gd name="T39" fmla="*/ 76 h 148"/>
                <a:gd name="T40" fmla="*/ 593 w 302"/>
                <a:gd name="T41" fmla="*/ 50 h 148"/>
                <a:gd name="T42" fmla="*/ 661 w 302"/>
                <a:gd name="T43" fmla="*/ 47 h 148"/>
                <a:gd name="T44" fmla="*/ 700 w 302"/>
                <a:gd name="T45" fmla="*/ 56 h 148"/>
                <a:gd name="T46" fmla="*/ 770 w 302"/>
                <a:gd name="T47" fmla="*/ 50 h 148"/>
                <a:gd name="T48" fmla="*/ 905 w 302"/>
                <a:gd name="T49" fmla="*/ 21 h 148"/>
                <a:gd name="T50" fmla="*/ 1070 w 302"/>
                <a:gd name="T51" fmla="*/ 26 h 148"/>
                <a:gd name="T52" fmla="*/ 1106 w 302"/>
                <a:gd name="T53" fmla="*/ 47 h 148"/>
                <a:gd name="T54" fmla="*/ 1100 w 302"/>
                <a:gd name="T55" fmla="*/ 91 h 148"/>
                <a:gd name="T56" fmla="*/ 1160 w 302"/>
                <a:gd name="T57" fmla="*/ 143 h 148"/>
                <a:gd name="T58" fmla="*/ 1121 w 302"/>
                <a:gd name="T59" fmla="*/ 189 h 148"/>
                <a:gd name="T60" fmla="*/ 1060 w 302"/>
                <a:gd name="T61" fmla="*/ 184 h 148"/>
                <a:gd name="T62" fmla="*/ 1023 w 302"/>
                <a:gd name="T63" fmla="*/ 195 h 148"/>
                <a:gd name="T64" fmla="*/ 1060 w 302"/>
                <a:gd name="T65" fmla="*/ 209 h 148"/>
                <a:gd name="T66" fmla="*/ 1028 w 302"/>
                <a:gd name="T67" fmla="*/ 229 h 148"/>
                <a:gd name="T68" fmla="*/ 1038 w 302"/>
                <a:gd name="T69" fmla="*/ 267 h 148"/>
                <a:gd name="T70" fmla="*/ 1008 w 302"/>
                <a:gd name="T71" fmla="*/ 306 h 148"/>
                <a:gd name="T72" fmla="*/ 964 w 302"/>
                <a:gd name="T73" fmla="*/ 334 h 148"/>
                <a:gd name="T74" fmla="*/ 884 w 302"/>
                <a:gd name="T75" fmla="*/ 347 h 148"/>
                <a:gd name="T76" fmla="*/ 792 w 302"/>
                <a:gd name="T77" fmla="*/ 347 h 148"/>
                <a:gd name="T78" fmla="*/ 732 w 302"/>
                <a:gd name="T79" fmla="*/ 366 h 148"/>
                <a:gd name="T80" fmla="*/ 675 w 302"/>
                <a:gd name="T81" fmla="*/ 362 h 148"/>
                <a:gd name="T82" fmla="*/ 577 w 302"/>
                <a:gd name="T83" fmla="*/ 351 h 148"/>
                <a:gd name="T84" fmla="*/ 429 w 302"/>
                <a:gd name="T85" fmla="*/ 332 h 148"/>
                <a:gd name="T86" fmla="*/ 382 w 302"/>
                <a:gd name="T87" fmla="*/ 297 h 148"/>
                <a:gd name="T88" fmla="*/ 332 w 302"/>
                <a:gd name="T89" fmla="*/ 290 h 148"/>
                <a:gd name="T90" fmla="*/ 275 w 302"/>
                <a:gd name="T91" fmla="*/ 290 h 148"/>
                <a:gd name="T92" fmla="*/ 244 w 302"/>
                <a:gd name="T93" fmla="*/ 290 h 148"/>
                <a:gd name="T94" fmla="*/ 185 w 302"/>
                <a:gd name="T95" fmla="*/ 316 h 148"/>
                <a:gd name="T96" fmla="*/ 138 w 302"/>
                <a:gd name="T97" fmla="*/ 290 h 148"/>
                <a:gd name="T98" fmla="*/ 94 w 302"/>
                <a:gd name="T99" fmla="*/ 306 h 148"/>
                <a:gd name="T100" fmla="*/ 56 w 302"/>
                <a:gd name="T101" fmla="*/ 283 h 148"/>
                <a:gd name="T102" fmla="*/ 16 w 302"/>
                <a:gd name="T103" fmla="*/ 267 h 148"/>
                <a:gd name="T104" fmla="*/ 16 w 302"/>
                <a:gd name="T105" fmla="*/ 229 h 148"/>
                <a:gd name="T106" fmla="*/ 10 w 302"/>
                <a:gd name="T107" fmla="*/ 207 h 1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02"/>
                <a:gd name="T163" fmla="*/ 0 h 148"/>
                <a:gd name="T164" fmla="*/ 302 w 302"/>
                <a:gd name="T165" fmla="*/ 148 h 14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02" h="148">
                  <a:moveTo>
                    <a:pt x="2" y="80"/>
                  </a:moveTo>
                  <a:lnTo>
                    <a:pt x="8" y="82"/>
                  </a:lnTo>
                  <a:lnTo>
                    <a:pt x="12" y="78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8" y="84"/>
                  </a:lnTo>
                  <a:lnTo>
                    <a:pt x="22" y="86"/>
                  </a:lnTo>
                  <a:lnTo>
                    <a:pt x="22" y="90"/>
                  </a:lnTo>
                  <a:lnTo>
                    <a:pt x="26" y="90"/>
                  </a:lnTo>
                  <a:lnTo>
                    <a:pt x="26" y="96"/>
                  </a:lnTo>
                  <a:lnTo>
                    <a:pt x="28" y="96"/>
                  </a:lnTo>
                  <a:lnTo>
                    <a:pt x="36" y="88"/>
                  </a:lnTo>
                  <a:lnTo>
                    <a:pt x="36" y="80"/>
                  </a:lnTo>
                  <a:lnTo>
                    <a:pt x="40" y="80"/>
                  </a:lnTo>
                  <a:lnTo>
                    <a:pt x="44" y="80"/>
                  </a:lnTo>
                  <a:lnTo>
                    <a:pt x="52" y="82"/>
                  </a:lnTo>
                  <a:lnTo>
                    <a:pt x="54" y="86"/>
                  </a:lnTo>
                  <a:lnTo>
                    <a:pt x="56" y="90"/>
                  </a:lnTo>
                  <a:lnTo>
                    <a:pt x="66" y="90"/>
                  </a:lnTo>
                  <a:lnTo>
                    <a:pt x="72" y="86"/>
                  </a:lnTo>
                  <a:lnTo>
                    <a:pt x="74" y="82"/>
                  </a:lnTo>
                  <a:lnTo>
                    <a:pt x="78" y="82"/>
                  </a:lnTo>
                  <a:lnTo>
                    <a:pt x="80" y="78"/>
                  </a:lnTo>
                  <a:lnTo>
                    <a:pt x="102" y="78"/>
                  </a:lnTo>
                  <a:lnTo>
                    <a:pt x="104" y="72"/>
                  </a:lnTo>
                  <a:lnTo>
                    <a:pt x="112" y="72"/>
                  </a:lnTo>
                  <a:lnTo>
                    <a:pt x="114" y="76"/>
                  </a:lnTo>
                  <a:lnTo>
                    <a:pt x="124" y="74"/>
                  </a:lnTo>
                  <a:lnTo>
                    <a:pt x="128" y="76"/>
                  </a:lnTo>
                  <a:lnTo>
                    <a:pt x="126" y="80"/>
                  </a:lnTo>
                  <a:lnTo>
                    <a:pt x="134" y="86"/>
                  </a:lnTo>
                  <a:lnTo>
                    <a:pt x="136" y="84"/>
                  </a:lnTo>
                  <a:lnTo>
                    <a:pt x="136" y="76"/>
                  </a:lnTo>
                  <a:lnTo>
                    <a:pt x="136" y="72"/>
                  </a:lnTo>
                  <a:lnTo>
                    <a:pt x="130" y="70"/>
                  </a:lnTo>
                  <a:lnTo>
                    <a:pt x="134" y="64"/>
                  </a:lnTo>
                  <a:lnTo>
                    <a:pt x="124" y="48"/>
                  </a:lnTo>
                  <a:lnTo>
                    <a:pt x="130" y="42"/>
                  </a:lnTo>
                  <a:lnTo>
                    <a:pt x="148" y="34"/>
                  </a:lnTo>
                  <a:lnTo>
                    <a:pt x="150" y="30"/>
                  </a:lnTo>
                  <a:lnTo>
                    <a:pt x="150" y="22"/>
                  </a:lnTo>
                  <a:lnTo>
                    <a:pt x="154" y="20"/>
                  </a:lnTo>
                  <a:lnTo>
                    <a:pt x="160" y="26"/>
                  </a:lnTo>
                  <a:lnTo>
                    <a:pt x="172" y="18"/>
                  </a:lnTo>
                  <a:lnTo>
                    <a:pt x="174" y="18"/>
                  </a:lnTo>
                  <a:lnTo>
                    <a:pt x="182" y="22"/>
                  </a:lnTo>
                  <a:lnTo>
                    <a:pt x="190" y="24"/>
                  </a:lnTo>
                  <a:lnTo>
                    <a:pt x="200" y="20"/>
                  </a:lnTo>
                  <a:lnTo>
                    <a:pt x="212" y="0"/>
                  </a:lnTo>
                  <a:lnTo>
                    <a:pt x="236" y="8"/>
                  </a:lnTo>
                  <a:lnTo>
                    <a:pt x="254" y="14"/>
                  </a:lnTo>
                  <a:lnTo>
                    <a:pt x="278" y="10"/>
                  </a:lnTo>
                  <a:lnTo>
                    <a:pt x="286" y="16"/>
                  </a:lnTo>
                  <a:lnTo>
                    <a:pt x="288" y="18"/>
                  </a:lnTo>
                  <a:lnTo>
                    <a:pt x="288" y="20"/>
                  </a:lnTo>
                  <a:lnTo>
                    <a:pt x="286" y="36"/>
                  </a:lnTo>
                  <a:lnTo>
                    <a:pt x="290" y="42"/>
                  </a:lnTo>
                  <a:lnTo>
                    <a:pt x="302" y="56"/>
                  </a:lnTo>
                  <a:lnTo>
                    <a:pt x="292" y="64"/>
                  </a:lnTo>
                  <a:lnTo>
                    <a:pt x="292" y="74"/>
                  </a:lnTo>
                  <a:lnTo>
                    <a:pt x="280" y="74"/>
                  </a:lnTo>
                  <a:lnTo>
                    <a:pt x="276" y="72"/>
                  </a:lnTo>
                  <a:lnTo>
                    <a:pt x="270" y="72"/>
                  </a:lnTo>
                  <a:lnTo>
                    <a:pt x="266" y="76"/>
                  </a:lnTo>
                  <a:lnTo>
                    <a:pt x="274" y="78"/>
                  </a:lnTo>
                  <a:lnTo>
                    <a:pt x="276" y="82"/>
                  </a:lnTo>
                  <a:lnTo>
                    <a:pt x="274" y="88"/>
                  </a:lnTo>
                  <a:lnTo>
                    <a:pt x="268" y="90"/>
                  </a:lnTo>
                  <a:lnTo>
                    <a:pt x="266" y="100"/>
                  </a:lnTo>
                  <a:lnTo>
                    <a:pt x="270" y="104"/>
                  </a:lnTo>
                  <a:lnTo>
                    <a:pt x="268" y="112"/>
                  </a:lnTo>
                  <a:lnTo>
                    <a:pt x="262" y="120"/>
                  </a:lnTo>
                  <a:lnTo>
                    <a:pt x="250" y="124"/>
                  </a:lnTo>
                  <a:lnTo>
                    <a:pt x="250" y="132"/>
                  </a:lnTo>
                  <a:lnTo>
                    <a:pt x="236" y="130"/>
                  </a:lnTo>
                  <a:lnTo>
                    <a:pt x="230" y="136"/>
                  </a:lnTo>
                  <a:lnTo>
                    <a:pt x="216" y="132"/>
                  </a:lnTo>
                  <a:lnTo>
                    <a:pt x="206" y="136"/>
                  </a:lnTo>
                  <a:lnTo>
                    <a:pt x="194" y="148"/>
                  </a:lnTo>
                  <a:lnTo>
                    <a:pt x="190" y="144"/>
                  </a:lnTo>
                  <a:lnTo>
                    <a:pt x="180" y="144"/>
                  </a:lnTo>
                  <a:lnTo>
                    <a:pt x="176" y="142"/>
                  </a:lnTo>
                  <a:lnTo>
                    <a:pt x="158" y="140"/>
                  </a:lnTo>
                  <a:lnTo>
                    <a:pt x="150" y="138"/>
                  </a:lnTo>
                  <a:lnTo>
                    <a:pt x="134" y="136"/>
                  </a:lnTo>
                  <a:lnTo>
                    <a:pt x="112" y="130"/>
                  </a:lnTo>
                  <a:lnTo>
                    <a:pt x="106" y="120"/>
                  </a:lnTo>
                  <a:lnTo>
                    <a:pt x="100" y="116"/>
                  </a:lnTo>
                  <a:lnTo>
                    <a:pt x="100" y="108"/>
                  </a:lnTo>
                  <a:lnTo>
                    <a:pt x="86" y="114"/>
                  </a:lnTo>
                  <a:lnTo>
                    <a:pt x="80" y="110"/>
                  </a:lnTo>
                  <a:lnTo>
                    <a:pt x="72" y="114"/>
                  </a:lnTo>
                  <a:lnTo>
                    <a:pt x="70" y="112"/>
                  </a:lnTo>
                  <a:lnTo>
                    <a:pt x="64" y="114"/>
                  </a:lnTo>
                  <a:lnTo>
                    <a:pt x="58" y="124"/>
                  </a:lnTo>
                  <a:lnTo>
                    <a:pt x="48" y="124"/>
                  </a:lnTo>
                  <a:lnTo>
                    <a:pt x="36" y="120"/>
                  </a:lnTo>
                  <a:lnTo>
                    <a:pt x="36" y="114"/>
                  </a:lnTo>
                  <a:lnTo>
                    <a:pt x="34" y="112"/>
                  </a:lnTo>
                  <a:lnTo>
                    <a:pt x="24" y="120"/>
                  </a:lnTo>
                  <a:lnTo>
                    <a:pt x="14" y="114"/>
                  </a:lnTo>
                  <a:lnTo>
                    <a:pt x="14" y="110"/>
                  </a:lnTo>
                  <a:lnTo>
                    <a:pt x="2" y="108"/>
                  </a:lnTo>
                  <a:lnTo>
                    <a:pt x="4" y="104"/>
                  </a:lnTo>
                  <a:lnTo>
                    <a:pt x="0" y="96"/>
                  </a:lnTo>
                  <a:lnTo>
                    <a:pt x="4" y="90"/>
                  </a:lnTo>
                  <a:lnTo>
                    <a:pt x="2" y="80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" name="Freeform 27">
              <a:extLst>
                <a:ext uri="{FF2B5EF4-FFF2-40B4-BE49-F238E27FC236}">
                  <a16:creationId xmlns:a16="http://schemas.microsoft.com/office/drawing/2014/main" id="{DDFCE250-2F23-4A92-969B-ECB214615CF5}"/>
                </a:ext>
              </a:extLst>
            </p:cNvPr>
            <p:cNvSpPr>
              <a:spLocks/>
            </p:cNvSpPr>
            <p:nvPr/>
          </p:nvSpPr>
          <p:spPr bwMode="gray">
            <a:xfrm>
              <a:off x="3703351" y="3276623"/>
              <a:ext cx="520996" cy="231808"/>
            </a:xfrm>
            <a:custGeom>
              <a:avLst/>
              <a:gdLst>
                <a:gd name="T0" fmla="*/ 2 w 218"/>
                <a:gd name="T1" fmla="*/ 144 h 102"/>
                <a:gd name="T2" fmla="*/ 14 w 218"/>
                <a:gd name="T3" fmla="*/ 127 h 102"/>
                <a:gd name="T4" fmla="*/ 30 w 218"/>
                <a:gd name="T5" fmla="*/ 118 h 102"/>
                <a:gd name="T6" fmla="*/ 37 w 218"/>
                <a:gd name="T7" fmla="*/ 111 h 102"/>
                <a:gd name="T8" fmla="*/ 50 w 218"/>
                <a:gd name="T9" fmla="*/ 111 h 102"/>
                <a:gd name="T10" fmla="*/ 76 w 218"/>
                <a:gd name="T11" fmla="*/ 118 h 102"/>
                <a:gd name="T12" fmla="*/ 81 w 218"/>
                <a:gd name="T13" fmla="*/ 111 h 102"/>
                <a:gd name="T14" fmla="*/ 89 w 218"/>
                <a:gd name="T15" fmla="*/ 118 h 102"/>
                <a:gd name="T16" fmla="*/ 107 w 218"/>
                <a:gd name="T17" fmla="*/ 111 h 102"/>
                <a:gd name="T18" fmla="*/ 120 w 218"/>
                <a:gd name="T19" fmla="*/ 105 h 102"/>
                <a:gd name="T20" fmla="*/ 126 w 218"/>
                <a:gd name="T21" fmla="*/ 101 h 102"/>
                <a:gd name="T22" fmla="*/ 143 w 218"/>
                <a:gd name="T23" fmla="*/ 101 h 102"/>
                <a:gd name="T24" fmla="*/ 150 w 218"/>
                <a:gd name="T25" fmla="*/ 89 h 102"/>
                <a:gd name="T26" fmla="*/ 157 w 218"/>
                <a:gd name="T27" fmla="*/ 86 h 102"/>
                <a:gd name="T28" fmla="*/ 172 w 218"/>
                <a:gd name="T29" fmla="*/ 78 h 102"/>
                <a:gd name="T30" fmla="*/ 182 w 218"/>
                <a:gd name="T31" fmla="*/ 64 h 102"/>
                <a:gd name="T32" fmla="*/ 187 w 218"/>
                <a:gd name="T33" fmla="*/ 47 h 102"/>
                <a:gd name="T34" fmla="*/ 196 w 218"/>
                <a:gd name="T35" fmla="*/ 42 h 102"/>
                <a:gd name="T36" fmla="*/ 212 w 218"/>
                <a:gd name="T37" fmla="*/ 36 h 102"/>
                <a:gd name="T38" fmla="*/ 227 w 218"/>
                <a:gd name="T39" fmla="*/ 26 h 102"/>
                <a:gd name="T40" fmla="*/ 243 w 218"/>
                <a:gd name="T41" fmla="*/ 15 h 102"/>
                <a:gd name="T42" fmla="*/ 246 w 218"/>
                <a:gd name="T43" fmla="*/ 11 h 102"/>
                <a:gd name="T44" fmla="*/ 265 w 218"/>
                <a:gd name="T45" fmla="*/ 15 h 102"/>
                <a:gd name="T46" fmla="*/ 277 w 218"/>
                <a:gd name="T47" fmla="*/ 2 h 102"/>
                <a:gd name="T48" fmla="*/ 303 w 218"/>
                <a:gd name="T49" fmla="*/ 11 h 102"/>
                <a:gd name="T50" fmla="*/ 332 w 218"/>
                <a:gd name="T51" fmla="*/ 21 h 102"/>
                <a:gd name="T52" fmla="*/ 353 w 218"/>
                <a:gd name="T53" fmla="*/ 2 h 102"/>
                <a:gd name="T54" fmla="*/ 378 w 218"/>
                <a:gd name="T55" fmla="*/ 0 h 102"/>
                <a:gd name="T56" fmla="*/ 392 w 218"/>
                <a:gd name="T57" fmla="*/ 26 h 102"/>
                <a:gd name="T58" fmla="*/ 414 w 218"/>
                <a:gd name="T59" fmla="*/ 36 h 102"/>
                <a:gd name="T60" fmla="*/ 414 w 218"/>
                <a:gd name="T61" fmla="*/ 58 h 102"/>
                <a:gd name="T62" fmla="*/ 453 w 218"/>
                <a:gd name="T63" fmla="*/ 58 h 102"/>
                <a:gd name="T64" fmla="*/ 469 w 218"/>
                <a:gd name="T65" fmla="*/ 36 h 102"/>
                <a:gd name="T66" fmla="*/ 520 w 218"/>
                <a:gd name="T67" fmla="*/ 26 h 102"/>
                <a:gd name="T68" fmla="*/ 580 w 218"/>
                <a:gd name="T69" fmla="*/ 42 h 102"/>
                <a:gd name="T70" fmla="*/ 610 w 218"/>
                <a:gd name="T71" fmla="*/ 21 h 102"/>
                <a:gd name="T72" fmla="*/ 681 w 218"/>
                <a:gd name="T73" fmla="*/ 15 h 102"/>
                <a:gd name="T74" fmla="*/ 731 w 218"/>
                <a:gd name="T75" fmla="*/ 42 h 102"/>
                <a:gd name="T76" fmla="*/ 771 w 218"/>
                <a:gd name="T77" fmla="*/ 64 h 102"/>
                <a:gd name="T78" fmla="*/ 755 w 218"/>
                <a:gd name="T79" fmla="*/ 184 h 102"/>
                <a:gd name="T80" fmla="*/ 685 w 218"/>
                <a:gd name="T81" fmla="*/ 181 h 102"/>
                <a:gd name="T82" fmla="*/ 580 w 218"/>
                <a:gd name="T83" fmla="*/ 160 h 102"/>
                <a:gd name="T84" fmla="*/ 469 w 218"/>
                <a:gd name="T85" fmla="*/ 216 h 102"/>
                <a:gd name="T86" fmla="*/ 401 w 218"/>
                <a:gd name="T87" fmla="*/ 216 h 102"/>
                <a:gd name="T88" fmla="*/ 316 w 218"/>
                <a:gd name="T89" fmla="*/ 228 h 102"/>
                <a:gd name="T90" fmla="*/ 277 w 218"/>
                <a:gd name="T91" fmla="*/ 269 h 102"/>
                <a:gd name="T92" fmla="*/ 143 w 218"/>
                <a:gd name="T93" fmla="*/ 267 h 102"/>
                <a:gd name="T94" fmla="*/ 76 w 218"/>
                <a:gd name="T95" fmla="*/ 240 h 102"/>
                <a:gd name="T96" fmla="*/ 14 w 218"/>
                <a:gd name="T97" fmla="*/ 213 h 102"/>
                <a:gd name="T98" fmla="*/ 2 w 218"/>
                <a:gd name="T99" fmla="*/ 154 h 102"/>
                <a:gd name="T100" fmla="*/ 2 w 218"/>
                <a:gd name="T101" fmla="*/ 149 h 10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18"/>
                <a:gd name="T154" fmla="*/ 0 h 102"/>
                <a:gd name="T155" fmla="*/ 218 w 218"/>
                <a:gd name="T156" fmla="*/ 102 h 10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18" h="102">
                  <a:moveTo>
                    <a:pt x="2" y="56"/>
                  </a:moveTo>
                  <a:lnTo>
                    <a:pt x="2" y="54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6" y="46"/>
                  </a:lnTo>
                  <a:lnTo>
                    <a:pt x="8" y="44"/>
                  </a:lnTo>
                  <a:lnTo>
                    <a:pt x="8" y="42"/>
                  </a:lnTo>
                  <a:lnTo>
                    <a:pt x="10" y="42"/>
                  </a:lnTo>
                  <a:lnTo>
                    <a:pt x="12" y="40"/>
                  </a:lnTo>
                  <a:lnTo>
                    <a:pt x="14" y="42"/>
                  </a:lnTo>
                  <a:lnTo>
                    <a:pt x="16" y="44"/>
                  </a:lnTo>
                  <a:lnTo>
                    <a:pt x="20" y="44"/>
                  </a:lnTo>
                  <a:lnTo>
                    <a:pt x="20" y="42"/>
                  </a:lnTo>
                  <a:lnTo>
                    <a:pt x="22" y="42"/>
                  </a:lnTo>
                  <a:lnTo>
                    <a:pt x="22" y="44"/>
                  </a:lnTo>
                  <a:lnTo>
                    <a:pt x="24" y="44"/>
                  </a:lnTo>
                  <a:lnTo>
                    <a:pt x="26" y="44"/>
                  </a:lnTo>
                  <a:lnTo>
                    <a:pt x="28" y="42"/>
                  </a:lnTo>
                  <a:lnTo>
                    <a:pt x="30" y="42"/>
                  </a:lnTo>
                  <a:lnTo>
                    <a:pt x="32" y="40"/>
                  </a:lnTo>
                  <a:lnTo>
                    <a:pt x="34" y="40"/>
                  </a:lnTo>
                  <a:lnTo>
                    <a:pt x="34" y="38"/>
                  </a:lnTo>
                  <a:lnTo>
                    <a:pt x="36" y="38"/>
                  </a:lnTo>
                  <a:lnTo>
                    <a:pt x="38" y="38"/>
                  </a:lnTo>
                  <a:lnTo>
                    <a:pt x="38" y="36"/>
                  </a:lnTo>
                  <a:lnTo>
                    <a:pt x="40" y="34"/>
                  </a:lnTo>
                  <a:lnTo>
                    <a:pt x="40" y="32"/>
                  </a:lnTo>
                  <a:lnTo>
                    <a:pt x="42" y="32"/>
                  </a:lnTo>
                  <a:lnTo>
                    <a:pt x="44" y="32"/>
                  </a:lnTo>
                  <a:lnTo>
                    <a:pt x="46" y="30"/>
                  </a:lnTo>
                  <a:lnTo>
                    <a:pt x="48" y="26"/>
                  </a:lnTo>
                  <a:lnTo>
                    <a:pt x="48" y="24"/>
                  </a:lnTo>
                  <a:lnTo>
                    <a:pt x="48" y="20"/>
                  </a:lnTo>
                  <a:lnTo>
                    <a:pt x="50" y="18"/>
                  </a:lnTo>
                  <a:lnTo>
                    <a:pt x="50" y="16"/>
                  </a:lnTo>
                  <a:lnTo>
                    <a:pt x="52" y="16"/>
                  </a:lnTo>
                  <a:lnTo>
                    <a:pt x="54" y="16"/>
                  </a:lnTo>
                  <a:lnTo>
                    <a:pt x="56" y="14"/>
                  </a:lnTo>
                  <a:lnTo>
                    <a:pt x="58" y="12"/>
                  </a:lnTo>
                  <a:lnTo>
                    <a:pt x="60" y="10"/>
                  </a:lnTo>
                  <a:lnTo>
                    <a:pt x="62" y="8"/>
                  </a:lnTo>
                  <a:lnTo>
                    <a:pt x="64" y="6"/>
                  </a:lnTo>
                  <a:lnTo>
                    <a:pt x="64" y="4"/>
                  </a:lnTo>
                  <a:lnTo>
                    <a:pt x="66" y="4"/>
                  </a:lnTo>
                  <a:lnTo>
                    <a:pt x="70" y="4"/>
                  </a:lnTo>
                  <a:lnTo>
                    <a:pt x="70" y="6"/>
                  </a:lnTo>
                  <a:lnTo>
                    <a:pt x="72" y="4"/>
                  </a:lnTo>
                  <a:lnTo>
                    <a:pt x="74" y="2"/>
                  </a:lnTo>
                  <a:lnTo>
                    <a:pt x="80" y="4"/>
                  </a:lnTo>
                  <a:lnTo>
                    <a:pt x="80" y="10"/>
                  </a:lnTo>
                  <a:lnTo>
                    <a:pt x="88" y="8"/>
                  </a:lnTo>
                  <a:lnTo>
                    <a:pt x="90" y="2"/>
                  </a:lnTo>
                  <a:lnTo>
                    <a:pt x="94" y="2"/>
                  </a:lnTo>
                  <a:lnTo>
                    <a:pt x="94" y="0"/>
                  </a:lnTo>
                  <a:lnTo>
                    <a:pt x="100" y="0"/>
                  </a:lnTo>
                  <a:lnTo>
                    <a:pt x="104" y="6"/>
                  </a:lnTo>
                  <a:lnTo>
                    <a:pt x="104" y="10"/>
                  </a:lnTo>
                  <a:lnTo>
                    <a:pt x="110" y="10"/>
                  </a:lnTo>
                  <a:lnTo>
                    <a:pt x="110" y="14"/>
                  </a:lnTo>
                  <a:lnTo>
                    <a:pt x="110" y="16"/>
                  </a:lnTo>
                  <a:lnTo>
                    <a:pt x="110" y="22"/>
                  </a:lnTo>
                  <a:lnTo>
                    <a:pt x="118" y="20"/>
                  </a:lnTo>
                  <a:lnTo>
                    <a:pt x="120" y="22"/>
                  </a:lnTo>
                  <a:lnTo>
                    <a:pt x="122" y="20"/>
                  </a:lnTo>
                  <a:lnTo>
                    <a:pt x="124" y="14"/>
                  </a:lnTo>
                  <a:lnTo>
                    <a:pt x="134" y="8"/>
                  </a:lnTo>
                  <a:lnTo>
                    <a:pt x="138" y="10"/>
                  </a:lnTo>
                  <a:lnTo>
                    <a:pt x="146" y="10"/>
                  </a:lnTo>
                  <a:lnTo>
                    <a:pt x="154" y="16"/>
                  </a:lnTo>
                  <a:lnTo>
                    <a:pt x="160" y="12"/>
                  </a:lnTo>
                  <a:lnTo>
                    <a:pt x="162" y="8"/>
                  </a:lnTo>
                  <a:lnTo>
                    <a:pt x="170" y="8"/>
                  </a:lnTo>
                  <a:lnTo>
                    <a:pt x="180" y="6"/>
                  </a:lnTo>
                  <a:lnTo>
                    <a:pt x="182" y="10"/>
                  </a:lnTo>
                  <a:lnTo>
                    <a:pt x="194" y="16"/>
                  </a:lnTo>
                  <a:lnTo>
                    <a:pt x="196" y="20"/>
                  </a:lnTo>
                  <a:lnTo>
                    <a:pt x="204" y="24"/>
                  </a:lnTo>
                  <a:lnTo>
                    <a:pt x="218" y="32"/>
                  </a:lnTo>
                  <a:lnTo>
                    <a:pt x="200" y="70"/>
                  </a:lnTo>
                  <a:lnTo>
                    <a:pt x="188" y="72"/>
                  </a:lnTo>
                  <a:lnTo>
                    <a:pt x="182" y="68"/>
                  </a:lnTo>
                  <a:lnTo>
                    <a:pt x="172" y="60"/>
                  </a:lnTo>
                  <a:lnTo>
                    <a:pt x="154" y="60"/>
                  </a:lnTo>
                  <a:lnTo>
                    <a:pt x="142" y="62"/>
                  </a:lnTo>
                  <a:lnTo>
                    <a:pt x="124" y="82"/>
                  </a:lnTo>
                  <a:lnTo>
                    <a:pt x="116" y="82"/>
                  </a:lnTo>
                  <a:lnTo>
                    <a:pt x="106" y="82"/>
                  </a:lnTo>
                  <a:lnTo>
                    <a:pt x="98" y="82"/>
                  </a:lnTo>
                  <a:lnTo>
                    <a:pt x="84" y="86"/>
                  </a:lnTo>
                  <a:lnTo>
                    <a:pt x="80" y="86"/>
                  </a:lnTo>
                  <a:lnTo>
                    <a:pt x="74" y="102"/>
                  </a:lnTo>
                  <a:lnTo>
                    <a:pt x="46" y="100"/>
                  </a:lnTo>
                  <a:lnTo>
                    <a:pt x="38" y="100"/>
                  </a:lnTo>
                  <a:lnTo>
                    <a:pt x="28" y="94"/>
                  </a:lnTo>
                  <a:lnTo>
                    <a:pt x="20" y="90"/>
                  </a:lnTo>
                  <a:lnTo>
                    <a:pt x="16" y="94"/>
                  </a:lnTo>
                  <a:lnTo>
                    <a:pt x="4" y="80"/>
                  </a:lnTo>
                  <a:lnTo>
                    <a:pt x="0" y="74"/>
                  </a:lnTo>
                  <a:lnTo>
                    <a:pt x="2" y="58"/>
                  </a:lnTo>
                  <a:lnTo>
                    <a:pt x="2" y="56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" name="Freeform 29">
              <a:extLst>
                <a:ext uri="{FF2B5EF4-FFF2-40B4-BE49-F238E27FC236}">
                  <a16:creationId xmlns:a16="http://schemas.microsoft.com/office/drawing/2014/main" id="{CDD744CF-57EC-4673-8973-A8ADB9929D70}"/>
                </a:ext>
              </a:extLst>
            </p:cNvPr>
            <p:cNvSpPr>
              <a:spLocks/>
            </p:cNvSpPr>
            <p:nvPr/>
          </p:nvSpPr>
          <p:spPr bwMode="gray">
            <a:xfrm>
              <a:off x="3641383" y="3414331"/>
              <a:ext cx="626572" cy="358042"/>
            </a:xfrm>
            <a:custGeom>
              <a:avLst/>
              <a:gdLst>
                <a:gd name="T0" fmla="*/ 387 w 260"/>
                <a:gd name="T1" fmla="*/ 388 h 160"/>
                <a:gd name="T2" fmla="*/ 350 w 260"/>
                <a:gd name="T3" fmla="*/ 403 h 160"/>
                <a:gd name="T4" fmla="*/ 318 w 260"/>
                <a:gd name="T5" fmla="*/ 403 h 160"/>
                <a:gd name="T6" fmla="*/ 270 w 260"/>
                <a:gd name="T7" fmla="*/ 408 h 160"/>
                <a:gd name="T8" fmla="*/ 231 w 260"/>
                <a:gd name="T9" fmla="*/ 403 h 160"/>
                <a:gd name="T10" fmla="*/ 157 w 260"/>
                <a:gd name="T11" fmla="*/ 358 h 160"/>
                <a:gd name="T12" fmla="*/ 57 w 260"/>
                <a:gd name="T13" fmla="*/ 321 h 160"/>
                <a:gd name="T14" fmla="*/ 39 w 260"/>
                <a:gd name="T15" fmla="*/ 306 h 160"/>
                <a:gd name="T16" fmla="*/ 16 w 260"/>
                <a:gd name="T17" fmla="*/ 285 h 160"/>
                <a:gd name="T18" fmla="*/ 0 w 260"/>
                <a:gd name="T19" fmla="*/ 250 h 160"/>
                <a:gd name="T20" fmla="*/ 25 w 260"/>
                <a:gd name="T21" fmla="*/ 229 h 160"/>
                <a:gd name="T22" fmla="*/ 31 w 260"/>
                <a:gd name="T23" fmla="*/ 209 h 160"/>
                <a:gd name="T24" fmla="*/ 16 w 260"/>
                <a:gd name="T25" fmla="*/ 198 h 160"/>
                <a:gd name="T26" fmla="*/ 25 w 260"/>
                <a:gd name="T27" fmla="*/ 172 h 160"/>
                <a:gd name="T28" fmla="*/ 48 w 260"/>
                <a:gd name="T29" fmla="*/ 168 h 160"/>
                <a:gd name="T30" fmla="*/ 57 w 260"/>
                <a:gd name="T31" fmla="*/ 153 h 160"/>
                <a:gd name="T32" fmla="*/ 48 w 260"/>
                <a:gd name="T33" fmla="*/ 143 h 160"/>
                <a:gd name="T34" fmla="*/ 16 w 260"/>
                <a:gd name="T35" fmla="*/ 138 h 160"/>
                <a:gd name="T36" fmla="*/ 31 w 260"/>
                <a:gd name="T37" fmla="*/ 126 h 160"/>
                <a:gd name="T38" fmla="*/ 57 w 260"/>
                <a:gd name="T39" fmla="*/ 126 h 160"/>
                <a:gd name="T40" fmla="*/ 72 w 260"/>
                <a:gd name="T41" fmla="*/ 132 h 160"/>
                <a:gd name="T42" fmla="*/ 118 w 260"/>
                <a:gd name="T43" fmla="*/ 132 h 160"/>
                <a:gd name="T44" fmla="*/ 118 w 260"/>
                <a:gd name="T45" fmla="*/ 106 h 160"/>
                <a:gd name="T46" fmla="*/ 157 w 260"/>
                <a:gd name="T47" fmla="*/ 88 h 160"/>
                <a:gd name="T48" fmla="*/ 172 w 260"/>
                <a:gd name="T49" fmla="*/ 76 h 160"/>
                <a:gd name="T50" fmla="*/ 206 w 260"/>
                <a:gd name="T51" fmla="*/ 88 h 160"/>
                <a:gd name="T52" fmla="*/ 245 w 260"/>
                <a:gd name="T53" fmla="*/ 103 h 160"/>
                <a:gd name="T54" fmla="*/ 278 w 260"/>
                <a:gd name="T55" fmla="*/ 103 h 160"/>
                <a:gd name="T56" fmla="*/ 387 w 260"/>
                <a:gd name="T57" fmla="*/ 106 h 160"/>
                <a:gd name="T58" fmla="*/ 415 w 260"/>
                <a:gd name="T59" fmla="*/ 65 h 160"/>
                <a:gd name="T60" fmla="*/ 428 w 260"/>
                <a:gd name="T61" fmla="*/ 65 h 160"/>
                <a:gd name="T62" fmla="*/ 479 w 260"/>
                <a:gd name="T63" fmla="*/ 56 h 160"/>
                <a:gd name="T64" fmla="*/ 516 w 260"/>
                <a:gd name="T65" fmla="*/ 56 h 160"/>
                <a:gd name="T66" fmla="*/ 553 w 260"/>
                <a:gd name="T67" fmla="*/ 56 h 160"/>
                <a:gd name="T68" fmla="*/ 585 w 260"/>
                <a:gd name="T69" fmla="*/ 56 h 160"/>
                <a:gd name="T70" fmla="*/ 658 w 260"/>
                <a:gd name="T71" fmla="*/ 2 h 160"/>
                <a:gd name="T72" fmla="*/ 706 w 260"/>
                <a:gd name="T73" fmla="*/ 0 h 160"/>
                <a:gd name="T74" fmla="*/ 779 w 260"/>
                <a:gd name="T75" fmla="*/ 0 h 160"/>
                <a:gd name="T76" fmla="*/ 816 w 260"/>
                <a:gd name="T77" fmla="*/ 21 h 160"/>
                <a:gd name="T78" fmla="*/ 841 w 260"/>
                <a:gd name="T79" fmla="*/ 30 h 160"/>
                <a:gd name="T80" fmla="*/ 888 w 260"/>
                <a:gd name="T81" fmla="*/ 26 h 160"/>
                <a:gd name="T82" fmla="*/ 894 w 260"/>
                <a:gd name="T83" fmla="*/ 26 h 160"/>
                <a:gd name="T84" fmla="*/ 941 w 260"/>
                <a:gd name="T85" fmla="*/ 47 h 160"/>
                <a:gd name="T86" fmla="*/ 981 w 260"/>
                <a:gd name="T87" fmla="*/ 63 h 160"/>
                <a:gd name="T88" fmla="*/ 1028 w 260"/>
                <a:gd name="T89" fmla="*/ 88 h 160"/>
                <a:gd name="T90" fmla="*/ 999 w 260"/>
                <a:gd name="T91" fmla="*/ 106 h 160"/>
                <a:gd name="T92" fmla="*/ 919 w 260"/>
                <a:gd name="T93" fmla="*/ 122 h 160"/>
                <a:gd name="T94" fmla="*/ 878 w 260"/>
                <a:gd name="T95" fmla="*/ 153 h 160"/>
                <a:gd name="T96" fmla="*/ 816 w 260"/>
                <a:gd name="T97" fmla="*/ 244 h 160"/>
                <a:gd name="T98" fmla="*/ 767 w 260"/>
                <a:gd name="T99" fmla="*/ 300 h 160"/>
                <a:gd name="T100" fmla="*/ 719 w 260"/>
                <a:gd name="T101" fmla="*/ 334 h 160"/>
                <a:gd name="T102" fmla="*/ 696 w 260"/>
                <a:gd name="T103" fmla="*/ 347 h 160"/>
                <a:gd name="T104" fmla="*/ 643 w 260"/>
                <a:gd name="T105" fmla="*/ 347 h 160"/>
                <a:gd name="T106" fmla="*/ 625 w 260"/>
                <a:gd name="T107" fmla="*/ 358 h 160"/>
                <a:gd name="T108" fmla="*/ 610 w 260"/>
                <a:gd name="T109" fmla="*/ 358 h 160"/>
                <a:gd name="T110" fmla="*/ 553 w 260"/>
                <a:gd name="T111" fmla="*/ 351 h 160"/>
                <a:gd name="T112" fmla="*/ 492 w 260"/>
                <a:gd name="T113" fmla="*/ 358 h 160"/>
                <a:gd name="T114" fmla="*/ 387 w 260"/>
                <a:gd name="T115" fmla="*/ 388 h 160"/>
                <a:gd name="T116" fmla="*/ 387 w 260"/>
                <a:gd name="T117" fmla="*/ 388 h 16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60"/>
                <a:gd name="T178" fmla="*/ 0 h 160"/>
                <a:gd name="T179" fmla="*/ 260 w 260"/>
                <a:gd name="T180" fmla="*/ 160 h 16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60" h="160">
                  <a:moveTo>
                    <a:pt x="98" y="152"/>
                  </a:moveTo>
                  <a:lnTo>
                    <a:pt x="88" y="158"/>
                  </a:lnTo>
                  <a:lnTo>
                    <a:pt x="80" y="158"/>
                  </a:lnTo>
                  <a:lnTo>
                    <a:pt x="68" y="160"/>
                  </a:lnTo>
                  <a:lnTo>
                    <a:pt x="58" y="158"/>
                  </a:lnTo>
                  <a:lnTo>
                    <a:pt x="40" y="140"/>
                  </a:lnTo>
                  <a:lnTo>
                    <a:pt x="14" y="126"/>
                  </a:lnTo>
                  <a:lnTo>
                    <a:pt x="10" y="120"/>
                  </a:lnTo>
                  <a:lnTo>
                    <a:pt x="4" y="112"/>
                  </a:lnTo>
                  <a:lnTo>
                    <a:pt x="0" y="98"/>
                  </a:lnTo>
                  <a:lnTo>
                    <a:pt x="6" y="90"/>
                  </a:lnTo>
                  <a:lnTo>
                    <a:pt x="8" y="82"/>
                  </a:lnTo>
                  <a:lnTo>
                    <a:pt x="4" y="78"/>
                  </a:lnTo>
                  <a:lnTo>
                    <a:pt x="6" y="68"/>
                  </a:lnTo>
                  <a:lnTo>
                    <a:pt x="12" y="66"/>
                  </a:lnTo>
                  <a:lnTo>
                    <a:pt x="14" y="60"/>
                  </a:lnTo>
                  <a:lnTo>
                    <a:pt x="12" y="56"/>
                  </a:lnTo>
                  <a:lnTo>
                    <a:pt x="4" y="54"/>
                  </a:lnTo>
                  <a:lnTo>
                    <a:pt x="8" y="50"/>
                  </a:lnTo>
                  <a:lnTo>
                    <a:pt x="14" y="50"/>
                  </a:lnTo>
                  <a:lnTo>
                    <a:pt x="18" y="52"/>
                  </a:lnTo>
                  <a:lnTo>
                    <a:pt x="30" y="52"/>
                  </a:lnTo>
                  <a:lnTo>
                    <a:pt x="30" y="42"/>
                  </a:lnTo>
                  <a:lnTo>
                    <a:pt x="40" y="34"/>
                  </a:lnTo>
                  <a:lnTo>
                    <a:pt x="44" y="30"/>
                  </a:lnTo>
                  <a:lnTo>
                    <a:pt x="52" y="34"/>
                  </a:lnTo>
                  <a:lnTo>
                    <a:pt x="62" y="40"/>
                  </a:lnTo>
                  <a:lnTo>
                    <a:pt x="70" y="40"/>
                  </a:lnTo>
                  <a:lnTo>
                    <a:pt x="98" y="42"/>
                  </a:lnTo>
                  <a:lnTo>
                    <a:pt x="104" y="26"/>
                  </a:lnTo>
                  <a:lnTo>
                    <a:pt x="108" y="26"/>
                  </a:lnTo>
                  <a:lnTo>
                    <a:pt x="122" y="22"/>
                  </a:lnTo>
                  <a:lnTo>
                    <a:pt x="130" y="22"/>
                  </a:lnTo>
                  <a:lnTo>
                    <a:pt x="140" y="22"/>
                  </a:lnTo>
                  <a:lnTo>
                    <a:pt x="148" y="22"/>
                  </a:lnTo>
                  <a:lnTo>
                    <a:pt x="166" y="2"/>
                  </a:lnTo>
                  <a:lnTo>
                    <a:pt x="178" y="0"/>
                  </a:lnTo>
                  <a:lnTo>
                    <a:pt x="196" y="0"/>
                  </a:lnTo>
                  <a:lnTo>
                    <a:pt x="206" y="8"/>
                  </a:lnTo>
                  <a:lnTo>
                    <a:pt x="212" y="12"/>
                  </a:lnTo>
                  <a:lnTo>
                    <a:pt x="224" y="10"/>
                  </a:lnTo>
                  <a:lnTo>
                    <a:pt x="226" y="10"/>
                  </a:lnTo>
                  <a:lnTo>
                    <a:pt x="238" y="18"/>
                  </a:lnTo>
                  <a:lnTo>
                    <a:pt x="248" y="24"/>
                  </a:lnTo>
                  <a:lnTo>
                    <a:pt x="260" y="34"/>
                  </a:lnTo>
                  <a:lnTo>
                    <a:pt x="252" y="42"/>
                  </a:lnTo>
                  <a:lnTo>
                    <a:pt x="232" y="48"/>
                  </a:lnTo>
                  <a:lnTo>
                    <a:pt x="222" y="60"/>
                  </a:lnTo>
                  <a:lnTo>
                    <a:pt x="206" y="96"/>
                  </a:lnTo>
                  <a:lnTo>
                    <a:pt x="194" y="118"/>
                  </a:lnTo>
                  <a:lnTo>
                    <a:pt x="182" y="132"/>
                  </a:lnTo>
                  <a:lnTo>
                    <a:pt x="176" y="136"/>
                  </a:lnTo>
                  <a:lnTo>
                    <a:pt x="162" y="136"/>
                  </a:lnTo>
                  <a:lnTo>
                    <a:pt x="158" y="140"/>
                  </a:lnTo>
                  <a:lnTo>
                    <a:pt x="154" y="140"/>
                  </a:lnTo>
                  <a:lnTo>
                    <a:pt x="140" y="138"/>
                  </a:lnTo>
                  <a:lnTo>
                    <a:pt x="124" y="140"/>
                  </a:lnTo>
                  <a:lnTo>
                    <a:pt x="98" y="152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" name="Freeform 34">
              <a:extLst>
                <a:ext uri="{FF2B5EF4-FFF2-40B4-BE49-F238E27FC236}">
                  <a16:creationId xmlns:a16="http://schemas.microsoft.com/office/drawing/2014/main" id="{A9F0C827-049D-411B-8684-9BFFFED9D947}"/>
                </a:ext>
              </a:extLst>
            </p:cNvPr>
            <p:cNvSpPr>
              <a:spLocks/>
            </p:cNvSpPr>
            <p:nvPr/>
          </p:nvSpPr>
          <p:spPr bwMode="gray">
            <a:xfrm>
              <a:off x="4015489" y="3453349"/>
              <a:ext cx="867562" cy="560014"/>
            </a:xfrm>
            <a:custGeom>
              <a:avLst/>
              <a:gdLst>
                <a:gd name="T0" fmla="*/ 16 w 362"/>
                <a:gd name="T1" fmla="*/ 318 h 250"/>
                <a:gd name="T2" fmla="*/ 86 w 362"/>
                <a:gd name="T3" fmla="*/ 306 h 250"/>
                <a:gd name="T4" fmla="*/ 155 w 362"/>
                <a:gd name="T5" fmla="*/ 260 h 250"/>
                <a:gd name="T6" fmla="*/ 260 w 362"/>
                <a:gd name="T7" fmla="*/ 109 h 250"/>
                <a:gd name="T8" fmla="*/ 379 w 362"/>
                <a:gd name="T9" fmla="*/ 63 h 250"/>
                <a:gd name="T10" fmla="*/ 413 w 362"/>
                <a:gd name="T11" fmla="*/ 35 h 250"/>
                <a:gd name="T12" fmla="*/ 486 w 362"/>
                <a:gd name="T13" fmla="*/ 35 h 250"/>
                <a:gd name="T14" fmla="*/ 623 w 362"/>
                <a:gd name="T15" fmla="*/ 53 h 250"/>
                <a:gd name="T16" fmla="*/ 646 w 362"/>
                <a:gd name="T17" fmla="*/ 66 h 250"/>
                <a:gd name="T18" fmla="*/ 673 w 362"/>
                <a:gd name="T19" fmla="*/ 77 h 250"/>
                <a:gd name="T20" fmla="*/ 716 w 362"/>
                <a:gd name="T21" fmla="*/ 66 h 250"/>
                <a:gd name="T22" fmla="*/ 858 w 362"/>
                <a:gd name="T23" fmla="*/ 41 h 250"/>
                <a:gd name="T24" fmla="*/ 890 w 362"/>
                <a:gd name="T25" fmla="*/ 2 h 250"/>
                <a:gd name="T26" fmla="*/ 945 w 362"/>
                <a:gd name="T27" fmla="*/ 0 h 250"/>
                <a:gd name="T28" fmla="*/ 1036 w 362"/>
                <a:gd name="T29" fmla="*/ 93 h 250"/>
                <a:gd name="T30" fmla="*/ 1151 w 362"/>
                <a:gd name="T31" fmla="*/ 185 h 250"/>
                <a:gd name="T32" fmla="*/ 1169 w 362"/>
                <a:gd name="T33" fmla="*/ 265 h 250"/>
                <a:gd name="T34" fmla="*/ 1160 w 362"/>
                <a:gd name="T35" fmla="*/ 368 h 250"/>
                <a:gd name="T36" fmla="*/ 1145 w 362"/>
                <a:gd name="T37" fmla="*/ 388 h 250"/>
                <a:gd name="T38" fmla="*/ 1169 w 362"/>
                <a:gd name="T39" fmla="*/ 409 h 250"/>
                <a:gd name="T40" fmla="*/ 1175 w 362"/>
                <a:gd name="T41" fmla="*/ 409 h 250"/>
                <a:gd name="T42" fmla="*/ 1210 w 362"/>
                <a:gd name="T43" fmla="*/ 437 h 250"/>
                <a:gd name="T44" fmla="*/ 1253 w 362"/>
                <a:gd name="T45" fmla="*/ 424 h 250"/>
                <a:gd name="T46" fmla="*/ 1328 w 362"/>
                <a:gd name="T47" fmla="*/ 409 h 250"/>
                <a:gd name="T48" fmla="*/ 1382 w 362"/>
                <a:gd name="T49" fmla="*/ 421 h 250"/>
                <a:gd name="T50" fmla="*/ 1365 w 362"/>
                <a:gd name="T51" fmla="*/ 465 h 250"/>
                <a:gd name="T52" fmla="*/ 1319 w 362"/>
                <a:gd name="T53" fmla="*/ 493 h 250"/>
                <a:gd name="T54" fmla="*/ 1271 w 362"/>
                <a:gd name="T55" fmla="*/ 509 h 250"/>
                <a:gd name="T56" fmla="*/ 1221 w 362"/>
                <a:gd name="T57" fmla="*/ 586 h 250"/>
                <a:gd name="T58" fmla="*/ 1210 w 362"/>
                <a:gd name="T59" fmla="*/ 647 h 250"/>
                <a:gd name="T60" fmla="*/ 1074 w 362"/>
                <a:gd name="T61" fmla="*/ 621 h 250"/>
                <a:gd name="T62" fmla="*/ 1022 w 362"/>
                <a:gd name="T63" fmla="*/ 606 h 250"/>
                <a:gd name="T64" fmla="*/ 945 w 362"/>
                <a:gd name="T65" fmla="*/ 581 h 250"/>
                <a:gd name="T66" fmla="*/ 778 w 362"/>
                <a:gd name="T67" fmla="*/ 645 h 250"/>
                <a:gd name="T68" fmla="*/ 661 w 362"/>
                <a:gd name="T69" fmla="*/ 621 h 250"/>
                <a:gd name="T70" fmla="*/ 593 w 362"/>
                <a:gd name="T71" fmla="*/ 638 h 250"/>
                <a:gd name="T72" fmla="*/ 491 w 362"/>
                <a:gd name="T73" fmla="*/ 616 h 250"/>
                <a:gd name="T74" fmla="*/ 407 w 362"/>
                <a:gd name="T75" fmla="*/ 628 h 250"/>
                <a:gd name="T76" fmla="*/ 392 w 362"/>
                <a:gd name="T77" fmla="*/ 616 h 250"/>
                <a:gd name="T78" fmla="*/ 382 w 362"/>
                <a:gd name="T79" fmla="*/ 591 h 250"/>
                <a:gd name="T80" fmla="*/ 322 w 362"/>
                <a:gd name="T81" fmla="*/ 564 h 250"/>
                <a:gd name="T82" fmla="*/ 338 w 362"/>
                <a:gd name="T83" fmla="*/ 533 h 250"/>
                <a:gd name="T84" fmla="*/ 353 w 362"/>
                <a:gd name="T85" fmla="*/ 527 h 250"/>
                <a:gd name="T86" fmla="*/ 303 w 362"/>
                <a:gd name="T87" fmla="*/ 517 h 250"/>
                <a:gd name="T88" fmla="*/ 275 w 362"/>
                <a:gd name="T89" fmla="*/ 544 h 250"/>
                <a:gd name="T90" fmla="*/ 232 w 362"/>
                <a:gd name="T91" fmla="*/ 517 h 250"/>
                <a:gd name="T92" fmla="*/ 194 w 362"/>
                <a:gd name="T93" fmla="*/ 503 h 250"/>
                <a:gd name="T94" fmla="*/ 163 w 362"/>
                <a:gd name="T95" fmla="*/ 503 h 250"/>
                <a:gd name="T96" fmla="*/ 169 w 362"/>
                <a:gd name="T97" fmla="*/ 486 h 250"/>
                <a:gd name="T98" fmla="*/ 169 w 362"/>
                <a:gd name="T99" fmla="*/ 478 h 250"/>
                <a:gd name="T100" fmla="*/ 169 w 362"/>
                <a:gd name="T101" fmla="*/ 462 h 250"/>
                <a:gd name="T102" fmla="*/ 179 w 362"/>
                <a:gd name="T103" fmla="*/ 448 h 250"/>
                <a:gd name="T104" fmla="*/ 118 w 362"/>
                <a:gd name="T105" fmla="*/ 431 h 250"/>
                <a:gd name="T106" fmla="*/ 76 w 362"/>
                <a:gd name="T107" fmla="*/ 394 h 250"/>
                <a:gd name="T108" fmla="*/ 70 w 362"/>
                <a:gd name="T109" fmla="*/ 362 h 250"/>
                <a:gd name="T110" fmla="*/ 48 w 362"/>
                <a:gd name="T111" fmla="*/ 348 h 250"/>
                <a:gd name="T112" fmla="*/ 0 w 362"/>
                <a:gd name="T113" fmla="*/ 318 h 25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62"/>
                <a:gd name="T172" fmla="*/ 0 h 250"/>
                <a:gd name="T173" fmla="*/ 362 w 362"/>
                <a:gd name="T174" fmla="*/ 250 h 25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62" h="250">
                  <a:moveTo>
                    <a:pt x="0" y="122"/>
                  </a:moveTo>
                  <a:lnTo>
                    <a:pt x="4" y="122"/>
                  </a:lnTo>
                  <a:lnTo>
                    <a:pt x="8" y="118"/>
                  </a:lnTo>
                  <a:lnTo>
                    <a:pt x="22" y="118"/>
                  </a:lnTo>
                  <a:lnTo>
                    <a:pt x="28" y="114"/>
                  </a:lnTo>
                  <a:lnTo>
                    <a:pt x="40" y="100"/>
                  </a:lnTo>
                  <a:lnTo>
                    <a:pt x="52" y="78"/>
                  </a:lnTo>
                  <a:lnTo>
                    <a:pt x="68" y="42"/>
                  </a:lnTo>
                  <a:lnTo>
                    <a:pt x="78" y="30"/>
                  </a:lnTo>
                  <a:lnTo>
                    <a:pt x="98" y="24"/>
                  </a:lnTo>
                  <a:lnTo>
                    <a:pt x="106" y="16"/>
                  </a:lnTo>
                  <a:lnTo>
                    <a:pt x="108" y="14"/>
                  </a:lnTo>
                  <a:lnTo>
                    <a:pt x="120" y="16"/>
                  </a:lnTo>
                  <a:lnTo>
                    <a:pt x="126" y="14"/>
                  </a:lnTo>
                  <a:lnTo>
                    <a:pt x="142" y="18"/>
                  </a:lnTo>
                  <a:lnTo>
                    <a:pt x="162" y="20"/>
                  </a:lnTo>
                  <a:lnTo>
                    <a:pt x="168" y="18"/>
                  </a:lnTo>
                  <a:lnTo>
                    <a:pt x="168" y="26"/>
                  </a:lnTo>
                  <a:lnTo>
                    <a:pt x="174" y="26"/>
                  </a:lnTo>
                  <a:lnTo>
                    <a:pt x="176" y="30"/>
                  </a:lnTo>
                  <a:lnTo>
                    <a:pt x="182" y="30"/>
                  </a:lnTo>
                  <a:lnTo>
                    <a:pt x="186" y="26"/>
                  </a:lnTo>
                  <a:lnTo>
                    <a:pt x="190" y="20"/>
                  </a:lnTo>
                  <a:lnTo>
                    <a:pt x="224" y="16"/>
                  </a:lnTo>
                  <a:lnTo>
                    <a:pt x="230" y="12"/>
                  </a:lnTo>
                  <a:lnTo>
                    <a:pt x="232" y="2"/>
                  </a:lnTo>
                  <a:lnTo>
                    <a:pt x="242" y="2"/>
                  </a:lnTo>
                  <a:lnTo>
                    <a:pt x="246" y="0"/>
                  </a:lnTo>
                  <a:lnTo>
                    <a:pt x="258" y="4"/>
                  </a:lnTo>
                  <a:lnTo>
                    <a:pt x="270" y="36"/>
                  </a:lnTo>
                  <a:lnTo>
                    <a:pt x="288" y="64"/>
                  </a:lnTo>
                  <a:lnTo>
                    <a:pt x="300" y="72"/>
                  </a:lnTo>
                  <a:lnTo>
                    <a:pt x="306" y="92"/>
                  </a:lnTo>
                  <a:lnTo>
                    <a:pt x="304" y="102"/>
                  </a:lnTo>
                  <a:lnTo>
                    <a:pt x="300" y="128"/>
                  </a:lnTo>
                  <a:lnTo>
                    <a:pt x="302" y="142"/>
                  </a:lnTo>
                  <a:lnTo>
                    <a:pt x="302" y="148"/>
                  </a:lnTo>
                  <a:lnTo>
                    <a:pt x="298" y="150"/>
                  </a:lnTo>
                  <a:lnTo>
                    <a:pt x="302" y="152"/>
                  </a:lnTo>
                  <a:lnTo>
                    <a:pt x="304" y="158"/>
                  </a:lnTo>
                  <a:lnTo>
                    <a:pt x="306" y="158"/>
                  </a:lnTo>
                  <a:lnTo>
                    <a:pt x="308" y="164"/>
                  </a:lnTo>
                  <a:lnTo>
                    <a:pt x="316" y="168"/>
                  </a:lnTo>
                  <a:lnTo>
                    <a:pt x="326" y="170"/>
                  </a:lnTo>
                  <a:lnTo>
                    <a:pt x="326" y="164"/>
                  </a:lnTo>
                  <a:lnTo>
                    <a:pt x="334" y="164"/>
                  </a:lnTo>
                  <a:lnTo>
                    <a:pt x="346" y="158"/>
                  </a:lnTo>
                  <a:lnTo>
                    <a:pt x="358" y="160"/>
                  </a:lnTo>
                  <a:lnTo>
                    <a:pt x="360" y="162"/>
                  </a:lnTo>
                  <a:lnTo>
                    <a:pt x="362" y="170"/>
                  </a:lnTo>
                  <a:lnTo>
                    <a:pt x="356" y="180"/>
                  </a:lnTo>
                  <a:lnTo>
                    <a:pt x="352" y="188"/>
                  </a:lnTo>
                  <a:lnTo>
                    <a:pt x="344" y="190"/>
                  </a:lnTo>
                  <a:lnTo>
                    <a:pt x="338" y="190"/>
                  </a:lnTo>
                  <a:lnTo>
                    <a:pt x="332" y="196"/>
                  </a:lnTo>
                  <a:lnTo>
                    <a:pt x="322" y="210"/>
                  </a:lnTo>
                  <a:lnTo>
                    <a:pt x="318" y="226"/>
                  </a:lnTo>
                  <a:lnTo>
                    <a:pt x="316" y="246"/>
                  </a:lnTo>
                  <a:lnTo>
                    <a:pt x="316" y="250"/>
                  </a:lnTo>
                  <a:lnTo>
                    <a:pt x="304" y="248"/>
                  </a:lnTo>
                  <a:lnTo>
                    <a:pt x="280" y="240"/>
                  </a:lnTo>
                  <a:lnTo>
                    <a:pt x="272" y="234"/>
                  </a:lnTo>
                  <a:lnTo>
                    <a:pt x="266" y="234"/>
                  </a:lnTo>
                  <a:lnTo>
                    <a:pt x="256" y="224"/>
                  </a:lnTo>
                  <a:lnTo>
                    <a:pt x="246" y="224"/>
                  </a:lnTo>
                  <a:lnTo>
                    <a:pt x="234" y="230"/>
                  </a:lnTo>
                  <a:lnTo>
                    <a:pt x="202" y="248"/>
                  </a:lnTo>
                  <a:lnTo>
                    <a:pt x="196" y="248"/>
                  </a:lnTo>
                  <a:lnTo>
                    <a:pt x="172" y="240"/>
                  </a:lnTo>
                  <a:lnTo>
                    <a:pt x="166" y="240"/>
                  </a:lnTo>
                  <a:lnTo>
                    <a:pt x="154" y="246"/>
                  </a:lnTo>
                  <a:lnTo>
                    <a:pt x="148" y="248"/>
                  </a:lnTo>
                  <a:lnTo>
                    <a:pt x="128" y="238"/>
                  </a:lnTo>
                  <a:lnTo>
                    <a:pt x="120" y="238"/>
                  </a:lnTo>
                  <a:lnTo>
                    <a:pt x="106" y="242"/>
                  </a:lnTo>
                  <a:lnTo>
                    <a:pt x="102" y="242"/>
                  </a:lnTo>
                  <a:lnTo>
                    <a:pt x="102" y="238"/>
                  </a:lnTo>
                  <a:lnTo>
                    <a:pt x="106" y="230"/>
                  </a:lnTo>
                  <a:lnTo>
                    <a:pt x="100" y="228"/>
                  </a:lnTo>
                  <a:lnTo>
                    <a:pt x="92" y="224"/>
                  </a:lnTo>
                  <a:lnTo>
                    <a:pt x="84" y="218"/>
                  </a:lnTo>
                  <a:lnTo>
                    <a:pt x="82" y="210"/>
                  </a:lnTo>
                  <a:lnTo>
                    <a:pt x="88" y="206"/>
                  </a:lnTo>
                  <a:lnTo>
                    <a:pt x="94" y="206"/>
                  </a:lnTo>
                  <a:lnTo>
                    <a:pt x="92" y="204"/>
                  </a:lnTo>
                  <a:lnTo>
                    <a:pt x="82" y="196"/>
                  </a:lnTo>
                  <a:lnTo>
                    <a:pt x="78" y="200"/>
                  </a:lnTo>
                  <a:lnTo>
                    <a:pt x="74" y="206"/>
                  </a:lnTo>
                  <a:lnTo>
                    <a:pt x="72" y="210"/>
                  </a:lnTo>
                  <a:lnTo>
                    <a:pt x="64" y="204"/>
                  </a:lnTo>
                  <a:lnTo>
                    <a:pt x="60" y="200"/>
                  </a:lnTo>
                  <a:lnTo>
                    <a:pt x="50" y="200"/>
                  </a:lnTo>
                  <a:lnTo>
                    <a:pt x="50" y="194"/>
                  </a:lnTo>
                  <a:lnTo>
                    <a:pt x="46" y="194"/>
                  </a:lnTo>
                  <a:lnTo>
                    <a:pt x="42" y="194"/>
                  </a:lnTo>
                  <a:lnTo>
                    <a:pt x="40" y="190"/>
                  </a:lnTo>
                  <a:lnTo>
                    <a:pt x="44" y="188"/>
                  </a:lnTo>
                  <a:lnTo>
                    <a:pt x="48" y="186"/>
                  </a:lnTo>
                  <a:lnTo>
                    <a:pt x="44" y="184"/>
                  </a:lnTo>
                  <a:lnTo>
                    <a:pt x="40" y="182"/>
                  </a:lnTo>
                  <a:lnTo>
                    <a:pt x="44" y="178"/>
                  </a:lnTo>
                  <a:lnTo>
                    <a:pt x="46" y="176"/>
                  </a:lnTo>
                  <a:lnTo>
                    <a:pt x="46" y="172"/>
                  </a:lnTo>
                  <a:lnTo>
                    <a:pt x="40" y="170"/>
                  </a:lnTo>
                  <a:lnTo>
                    <a:pt x="30" y="166"/>
                  </a:lnTo>
                  <a:lnTo>
                    <a:pt x="18" y="154"/>
                  </a:lnTo>
                  <a:lnTo>
                    <a:pt x="20" y="152"/>
                  </a:lnTo>
                  <a:lnTo>
                    <a:pt x="18" y="148"/>
                  </a:lnTo>
                  <a:lnTo>
                    <a:pt x="18" y="140"/>
                  </a:lnTo>
                  <a:lnTo>
                    <a:pt x="14" y="140"/>
                  </a:lnTo>
                  <a:lnTo>
                    <a:pt x="12" y="134"/>
                  </a:lnTo>
                  <a:lnTo>
                    <a:pt x="2" y="130"/>
                  </a:lnTo>
                  <a:lnTo>
                    <a:pt x="0" y="122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21C49EF9-1361-43D0-B3CA-5732E645D146}"/>
              </a:ext>
            </a:extLst>
          </p:cNvPr>
          <p:cNvCxnSpPr>
            <a:cxnSpLocks/>
          </p:cNvCxnSpPr>
          <p:nvPr/>
        </p:nvCxnSpPr>
        <p:spPr>
          <a:xfrm flipH="1">
            <a:off x="3705044" y="2130833"/>
            <a:ext cx="445109" cy="56728"/>
          </a:xfrm>
          <a:prstGeom prst="straightConnector1">
            <a:avLst/>
          </a:prstGeom>
          <a:ln w="28575">
            <a:solidFill>
              <a:srgbClr val="0066A9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BD164BDD-1DC1-4E63-88E5-D8884C3A65A4}"/>
              </a:ext>
            </a:extLst>
          </p:cNvPr>
          <p:cNvCxnSpPr>
            <a:cxnSpLocks/>
          </p:cNvCxnSpPr>
          <p:nvPr/>
        </p:nvCxnSpPr>
        <p:spPr>
          <a:xfrm flipH="1">
            <a:off x="3340407" y="2205828"/>
            <a:ext cx="296969" cy="52364"/>
          </a:xfrm>
          <a:prstGeom prst="straightConnector1">
            <a:avLst/>
          </a:prstGeom>
          <a:ln w="28575">
            <a:solidFill>
              <a:srgbClr val="0066A9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4">
            <a:extLst>
              <a:ext uri="{FF2B5EF4-FFF2-40B4-BE49-F238E27FC236}">
                <a16:creationId xmlns:a16="http://schemas.microsoft.com/office/drawing/2014/main" id="{19547180-478D-461C-96A4-3CAD3139F664}"/>
              </a:ext>
            </a:extLst>
          </p:cNvPr>
          <p:cNvSpPr txBox="1"/>
          <p:nvPr/>
        </p:nvSpPr>
        <p:spPr>
          <a:xfrm>
            <a:off x="4371864" y="2587755"/>
            <a:ext cx="1233030" cy="70788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de-DE" sz="1000" b="1" i="1" dirty="0"/>
              <a:t>Exit</a:t>
            </a:r>
          </a:p>
          <a:p>
            <a:r>
              <a:rPr lang="de-DE" sz="1000" b="1" dirty="0"/>
              <a:t>  </a:t>
            </a:r>
            <a:r>
              <a:rPr lang="de-DE" sz="1000" b="1" dirty="0">
                <a:solidFill>
                  <a:srgbClr val="0066AA"/>
                </a:solidFill>
              </a:rPr>
              <a:t>631,25 HUF/kWh/h/y</a:t>
            </a:r>
          </a:p>
          <a:p>
            <a:r>
              <a:rPr lang="de-DE" sz="1000" b="1" dirty="0">
                <a:solidFill>
                  <a:srgbClr val="FF0000"/>
                </a:solidFill>
              </a:rPr>
              <a:t>      0,0   HUF/kWh/h/y</a:t>
            </a:r>
          </a:p>
          <a:p>
            <a:r>
              <a:rPr lang="de-DE" sz="1000" b="1" dirty="0">
                <a:solidFill>
                  <a:srgbClr val="005C2A"/>
                </a:solidFill>
              </a:rPr>
              <a:t>49,9 %</a:t>
            </a:r>
            <a:endParaRPr lang="en-GB" sz="1000" b="1" dirty="0">
              <a:solidFill>
                <a:srgbClr val="005C2A"/>
              </a:solidFill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4D32BD74-00CE-4A99-8E0A-22B236CD9002}"/>
              </a:ext>
            </a:extLst>
          </p:cNvPr>
          <p:cNvSpPr txBox="1"/>
          <p:nvPr/>
        </p:nvSpPr>
        <p:spPr>
          <a:xfrm>
            <a:off x="2434257" y="1862011"/>
            <a:ext cx="902811" cy="70788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de-DE" sz="1000" b="1" i="1" dirty="0"/>
              <a:t>Entry</a:t>
            </a:r>
          </a:p>
          <a:p>
            <a:r>
              <a:rPr lang="de-DE" sz="1000" b="1" dirty="0">
                <a:solidFill>
                  <a:srgbClr val="0066AA"/>
                </a:solidFill>
              </a:rPr>
              <a:t>0,77 €/kWh/h/y</a:t>
            </a:r>
          </a:p>
          <a:p>
            <a:r>
              <a:rPr lang="de-DE" sz="1000" b="1" dirty="0">
                <a:solidFill>
                  <a:srgbClr val="FF0000"/>
                </a:solidFill>
              </a:rPr>
              <a:t>0,0   €/kWh/h/y</a:t>
            </a:r>
          </a:p>
          <a:p>
            <a:r>
              <a:rPr lang="de-DE" sz="1000" b="1" dirty="0">
                <a:solidFill>
                  <a:srgbClr val="005C2A"/>
                </a:solidFill>
              </a:rPr>
              <a:t>0 %</a:t>
            </a:r>
            <a:endParaRPr lang="en-GB" sz="1000" b="1" dirty="0">
              <a:solidFill>
                <a:srgbClr val="005C2A"/>
              </a:solidFill>
            </a:endParaRPr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17B21D85-6E7E-4F3B-A1F6-4AC0158861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4303" y="2189384"/>
            <a:ext cx="413712" cy="277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>
            <a:extLst>
              <a:ext uri="{FF2B5EF4-FFF2-40B4-BE49-F238E27FC236}">
                <a16:creationId xmlns:a16="http://schemas.microsoft.com/office/drawing/2014/main" id="{93B79375-1888-402A-9A40-7F5D7F29B9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9512" y="2249444"/>
            <a:ext cx="554679" cy="2784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4" descr="Bildergebnis für romania flag">
            <a:extLst>
              <a:ext uri="{FF2B5EF4-FFF2-40B4-BE49-F238E27FC236}">
                <a16:creationId xmlns:a16="http://schemas.microsoft.com/office/drawing/2014/main" id="{E33498A1-72A6-4884-8B69-708CA9401E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4461" y="4282496"/>
            <a:ext cx="504056" cy="336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6D09F843-8896-41F6-93F9-27F68FD11094}"/>
              </a:ext>
            </a:extLst>
          </p:cNvPr>
          <p:cNvCxnSpPr>
            <a:cxnSpLocks/>
          </p:cNvCxnSpPr>
          <p:nvPr/>
        </p:nvCxnSpPr>
        <p:spPr>
          <a:xfrm flipH="1" flipV="1">
            <a:off x="4899276" y="2240972"/>
            <a:ext cx="37475" cy="295530"/>
          </a:xfrm>
          <a:prstGeom prst="straightConnector1">
            <a:avLst/>
          </a:prstGeom>
          <a:ln w="28575">
            <a:solidFill>
              <a:srgbClr val="0066A9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075A27CC-9A6B-4ED8-AE1E-7098026C17F1}"/>
              </a:ext>
            </a:extLst>
          </p:cNvPr>
          <p:cNvCxnSpPr>
            <a:cxnSpLocks/>
          </p:cNvCxnSpPr>
          <p:nvPr/>
        </p:nvCxnSpPr>
        <p:spPr>
          <a:xfrm flipH="1" flipV="1">
            <a:off x="4641741" y="1985440"/>
            <a:ext cx="208662" cy="216024"/>
          </a:xfrm>
          <a:prstGeom prst="straightConnector1">
            <a:avLst/>
          </a:prstGeom>
          <a:ln w="28575">
            <a:solidFill>
              <a:srgbClr val="0066A9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Ellipse 28">
            <a:extLst>
              <a:ext uri="{FF2B5EF4-FFF2-40B4-BE49-F238E27FC236}">
                <a16:creationId xmlns:a16="http://schemas.microsoft.com/office/drawing/2014/main" id="{68DD311E-C19D-4772-B4D8-60A6A64406E0}"/>
              </a:ext>
            </a:extLst>
          </p:cNvPr>
          <p:cNvSpPr/>
          <p:nvPr/>
        </p:nvSpPr>
        <p:spPr>
          <a:xfrm>
            <a:off x="3644511" y="2165991"/>
            <a:ext cx="45719" cy="45719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000" dirty="0"/>
          </a:p>
        </p:txBody>
      </p:sp>
      <p:sp>
        <p:nvSpPr>
          <p:cNvPr id="30" name="Ellipse 29">
            <a:extLst>
              <a:ext uri="{FF2B5EF4-FFF2-40B4-BE49-F238E27FC236}">
                <a16:creationId xmlns:a16="http://schemas.microsoft.com/office/drawing/2014/main" id="{D7FF6E1A-490C-47F0-A710-3298D8AC7DD1}"/>
              </a:ext>
            </a:extLst>
          </p:cNvPr>
          <p:cNvSpPr/>
          <p:nvPr/>
        </p:nvSpPr>
        <p:spPr>
          <a:xfrm>
            <a:off x="4860032" y="2211710"/>
            <a:ext cx="45719" cy="45719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000" dirty="0"/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9F0D590D-C6EC-431A-A2AD-F88793D998D5}"/>
              </a:ext>
            </a:extLst>
          </p:cNvPr>
          <p:cNvSpPr/>
          <p:nvPr/>
        </p:nvSpPr>
        <p:spPr>
          <a:xfrm>
            <a:off x="3750437" y="2407683"/>
            <a:ext cx="45719" cy="45719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000" dirty="0"/>
          </a:p>
        </p:txBody>
      </p:sp>
      <p:sp>
        <p:nvSpPr>
          <p:cNvPr id="32" name="Ellipse 31">
            <a:extLst>
              <a:ext uri="{FF2B5EF4-FFF2-40B4-BE49-F238E27FC236}">
                <a16:creationId xmlns:a16="http://schemas.microsoft.com/office/drawing/2014/main" id="{6385BACB-4B2C-4783-ABA2-302428CD863E}"/>
              </a:ext>
            </a:extLst>
          </p:cNvPr>
          <p:cNvSpPr/>
          <p:nvPr/>
        </p:nvSpPr>
        <p:spPr>
          <a:xfrm>
            <a:off x="5508104" y="3795886"/>
            <a:ext cx="45719" cy="45719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000" dirty="0"/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5CFA8635-0ECC-408B-99CE-662150EAC64D}"/>
              </a:ext>
            </a:extLst>
          </p:cNvPr>
          <p:cNvSpPr txBox="1"/>
          <p:nvPr/>
        </p:nvSpPr>
        <p:spPr>
          <a:xfrm>
            <a:off x="4786354" y="1398921"/>
            <a:ext cx="1018227" cy="70788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de-DE" sz="1000" b="1" i="1" dirty="0"/>
              <a:t>Entry</a:t>
            </a:r>
          </a:p>
          <a:p>
            <a:r>
              <a:rPr lang="de-DE" sz="1000" b="1" dirty="0"/>
              <a:t>  </a:t>
            </a:r>
            <a:r>
              <a:rPr lang="de-DE" sz="1000" b="1" dirty="0">
                <a:solidFill>
                  <a:srgbClr val="0066AA"/>
                </a:solidFill>
              </a:rPr>
              <a:t>2,604 €/kWh/h/y</a:t>
            </a:r>
          </a:p>
          <a:p>
            <a:r>
              <a:rPr lang="de-DE" sz="1000" b="1" dirty="0">
                <a:solidFill>
                  <a:srgbClr val="FF0000"/>
                </a:solidFill>
              </a:rPr>
              <a:t>  0,0     €/kWh/h/y</a:t>
            </a:r>
          </a:p>
          <a:p>
            <a:r>
              <a:rPr lang="de-DE" sz="1000" b="1" dirty="0">
                <a:solidFill>
                  <a:srgbClr val="005C2A"/>
                </a:solidFill>
              </a:rPr>
              <a:t>?? %</a:t>
            </a:r>
            <a:endParaRPr lang="en-GB" sz="1000" b="1" dirty="0">
              <a:solidFill>
                <a:srgbClr val="005C2A"/>
              </a:solidFill>
            </a:endParaRP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DC520BAE-2F4E-4922-81FD-8FC9C165CF6B}"/>
              </a:ext>
            </a:extLst>
          </p:cNvPr>
          <p:cNvSpPr txBox="1"/>
          <p:nvPr/>
        </p:nvSpPr>
        <p:spPr>
          <a:xfrm>
            <a:off x="3581916" y="1362331"/>
            <a:ext cx="1018227" cy="70788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de-DE" sz="1000" b="1" i="1" dirty="0"/>
              <a:t>Exit</a:t>
            </a:r>
          </a:p>
          <a:p>
            <a:r>
              <a:rPr lang="de-DE" sz="1000" b="1" dirty="0"/>
              <a:t>  </a:t>
            </a:r>
            <a:r>
              <a:rPr lang="de-DE" sz="1000" b="1" dirty="0">
                <a:solidFill>
                  <a:srgbClr val="0066AA"/>
                </a:solidFill>
              </a:rPr>
              <a:t>4,467 €/kWh/h/y</a:t>
            </a:r>
          </a:p>
          <a:p>
            <a:r>
              <a:rPr lang="de-DE" sz="1000" b="1" dirty="0">
                <a:solidFill>
                  <a:srgbClr val="FF0000"/>
                </a:solidFill>
              </a:rPr>
              <a:t>  0,0     €/kWh/h/y</a:t>
            </a:r>
          </a:p>
          <a:p>
            <a:r>
              <a:rPr lang="de-DE" sz="1000" b="1" dirty="0">
                <a:solidFill>
                  <a:srgbClr val="005C2A"/>
                </a:solidFill>
              </a:rPr>
              <a:t>?? %</a:t>
            </a:r>
            <a:endParaRPr lang="en-GB" sz="1000" b="1" dirty="0">
              <a:solidFill>
                <a:srgbClr val="005C2A"/>
              </a:solidFill>
            </a:endParaRPr>
          </a:p>
        </p:txBody>
      </p:sp>
      <p:sp>
        <p:nvSpPr>
          <p:cNvPr id="36" name="Nach rechts gekrümmter Pfeil 38">
            <a:extLst>
              <a:ext uri="{FF2B5EF4-FFF2-40B4-BE49-F238E27FC236}">
                <a16:creationId xmlns:a16="http://schemas.microsoft.com/office/drawing/2014/main" id="{7B6E54E6-1A59-48D7-ACE0-437A89828706}"/>
              </a:ext>
            </a:extLst>
          </p:cNvPr>
          <p:cNvSpPr/>
          <p:nvPr/>
        </p:nvSpPr>
        <p:spPr>
          <a:xfrm rot="6752013" flipH="1">
            <a:off x="3114942" y="2278151"/>
            <a:ext cx="605061" cy="1787064"/>
          </a:xfrm>
          <a:prstGeom prst="curvedRightArrow">
            <a:avLst>
              <a:gd name="adj1" fmla="val 25000"/>
              <a:gd name="adj2" fmla="val 100760"/>
              <a:gd name="adj3" fmla="val 25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72E0B0DC-3F2A-4690-A991-7421F6177F84}"/>
              </a:ext>
            </a:extLst>
          </p:cNvPr>
          <p:cNvSpPr txBox="1"/>
          <p:nvPr/>
        </p:nvSpPr>
        <p:spPr>
          <a:xfrm>
            <a:off x="2091843" y="3620706"/>
            <a:ext cx="17043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highlight>
                  <a:srgbClr val="FFFF00"/>
                </a:highlight>
              </a:rPr>
              <a:t>9,87    €/kWh/h/y </a:t>
            </a:r>
            <a:endParaRPr lang="en-GB" b="1" dirty="0">
              <a:highlight>
                <a:srgbClr val="FFFF00"/>
              </a:highlight>
            </a:endParaRPr>
          </a:p>
        </p:txBody>
      </p:sp>
      <p:sp>
        <p:nvSpPr>
          <p:cNvPr id="40" name="Inhaltsplatzhalter 55">
            <a:extLst>
              <a:ext uri="{FF2B5EF4-FFF2-40B4-BE49-F238E27FC236}">
                <a16:creationId xmlns:a16="http://schemas.microsoft.com/office/drawing/2014/main" id="{84AF1EEE-3914-4856-9DB5-FDAA80904E03}"/>
              </a:ext>
            </a:extLst>
          </p:cNvPr>
          <p:cNvSpPr txBox="1">
            <a:spLocks/>
          </p:cNvSpPr>
          <p:nvPr/>
        </p:nvSpPr>
        <p:spPr>
          <a:xfrm>
            <a:off x="97022" y="4274065"/>
            <a:ext cx="2670924" cy="6822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1pPr>
            <a:lvl2pPr marL="268288" indent="-268288" algn="l" defTabSz="914400" rtl="0" eaLnBrk="1" latinLnBrk="0" hangingPunct="1">
              <a:spcBef>
                <a:spcPts val="500"/>
              </a:spcBef>
              <a:buClr>
                <a:srgbClr val="0066A9"/>
              </a:buClr>
              <a:buFont typeface="Arial" panose="020B0604020202020204" pitchFamily="34" charset="0"/>
              <a:buChar char="&gt;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2pPr>
            <a:lvl3pPr marL="536575" indent="-268288" algn="l" defTabSz="914400" rtl="0" eaLnBrk="1" latinLnBrk="0" hangingPunct="1">
              <a:spcBef>
                <a:spcPts val="400"/>
              </a:spcBef>
              <a:buClr>
                <a:srgbClr val="0066A9"/>
              </a:buClr>
              <a:buFont typeface="Wingdings" panose="05000000000000000000" pitchFamily="2" charset="2"/>
              <a:buChar char="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3pPr>
            <a:lvl4pPr marL="720725" indent="-273050" algn="l" defTabSz="914400" rtl="0" eaLnBrk="1" latinLnBrk="0" hangingPunct="1">
              <a:spcBef>
                <a:spcPts val="4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 dirty="0">
                <a:solidFill>
                  <a:schemeClr val="accent1"/>
                </a:solidFill>
              </a:rPr>
              <a:t>Reserve price</a:t>
            </a:r>
          </a:p>
          <a:p>
            <a:r>
              <a:rPr lang="en-US" sz="1000" b="1" dirty="0">
                <a:solidFill>
                  <a:srgbClr val="FF0000"/>
                </a:solidFill>
              </a:rPr>
              <a:t>Minimum Premium</a:t>
            </a:r>
          </a:p>
          <a:p>
            <a:r>
              <a:rPr lang="en-US" sz="1000" b="1" dirty="0">
                <a:solidFill>
                  <a:srgbClr val="005C2A"/>
                </a:solidFill>
              </a:rPr>
              <a:t>Minimum booked incremental capacity threshold  </a:t>
            </a: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88E4249A-FAB4-4395-9CFC-6B96888AF8D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14093" y="1286094"/>
            <a:ext cx="560203" cy="374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89372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2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5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8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  <p:bldP spid="33" grpId="0" animBg="1"/>
      <p:bldP spid="35" grpId="0" animBg="1"/>
      <p:bldP spid="36" grpId="0" animBg="1"/>
      <p:bldP spid="37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F7BB38-3539-4186-81EA-78183AAC1B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Project costs overview HUSKAT 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D784ACF-6B3C-470E-86EE-9F2E71433A46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76DE41C-723A-4A37-9297-237F7E52E71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9</a:t>
            </a:fld>
            <a:endParaRPr lang="de-DE" dirty="0"/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EE26A171-4428-436A-A4F6-CECF865B5DE7}"/>
              </a:ext>
            </a:extLst>
          </p:cNvPr>
          <p:cNvGrpSpPr/>
          <p:nvPr/>
        </p:nvGrpSpPr>
        <p:grpSpPr>
          <a:xfrm>
            <a:off x="107504" y="1059582"/>
            <a:ext cx="9577064" cy="4639134"/>
            <a:chOff x="3017105" y="3276623"/>
            <a:chExt cx="1865946" cy="736740"/>
          </a:xfrm>
        </p:grpSpPr>
        <p:sp>
          <p:nvSpPr>
            <p:cNvPr id="8" name="Freeform 26">
              <a:extLst>
                <a:ext uri="{FF2B5EF4-FFF2-40B4-BE49-F238E27FC236}">
                  <a16:creationId xmlns:a16="http://schemas.microsoft.com/office/drawing/2014/main" id="{3872F46B-8624-4F5F-998C-6E438C6A738E}"/>
                </a:ext>
              </a:extLst>
            </p:cNvPr>
            <p:cNvSpPr>
              <a:spLocks/>
            </p:cNvSpPr>
            <p:nvPr/>
          </p:nvSpPr>
          <p:spPr bwMode="gray">
            <a:xfrm>
              <a:off x="3017105" y="3363838"/>
              <a:ext cx="722968" cy="330500"/>
            </a:xfrm>
            <a:custGeom>
              <a:avLst/>
              <a:gdLst>
                <a:gd name="T0" fmla="*/ 31 w 302"/>
                <a:gd name="T1" fmla="*/ 209 h 148"/>
                <a:gd name="T2" fmla="*/ 48 w 302"/>
                <a:gd name="T3" fmla="*/ 207 h 148"/>
                <a:gd name="T4" fmla="*/ 70 w 302"/>
                <a:gd name="T5" fmla="*/ 215 h 148"/>
                <a:gd name="T6" fmla="*/ 86 w 302"/>
                <a:gd name="T7" fmla="*/ 229 h 148"/>
                <a:gd name="T8" fmla="*/ 100 w 302"/>
                <a:gd name="T9" fmla="*/ 244 h 148"/>
                <a:gd name="T10" fmla="*/ 138 w 302"/>
                <a:gd name="T11" fmla="*/ 224 h 148"/>
                <a:gd name="T12" fmla="*/ 155 w 302"/>
                <a:gd name="T13" fmla="*/ 207 h 148"/>
                <a:gd name="T14" fmla="*/ 198 w 302"/>
                <a:gd name="T15" fmla="*/ 209 h 148"/>
                <a:gd name="T16" fmla="*/ 217 w 302"/>
                <a:gd name="T17" fmla="*/ 229 h 148"/>
                <a:gd name="T18" fmla="*/ 275 w 302"/>
                <a:gd name="T19" fmla="*/ 220 h 148"/>
                <a:gd name="T20" fmla="*/ 303 w 302"/>
                <a:gd name="T21" fmla="*/ 209 h 148"/>
                <a:gd name="T22" fmla="*/ 392 w 302"/>
                <a:gd name="T23" fmla="*/ 198 h 148"/>
                <a:gd name="T24" fmla="*/ 429 w 302"/>
                <a:gd name="T25" fmla="*/ 184 h 148"/>
                <a:gd name="T26" fmla="*/ 477 w 302"/>
                <a:gd name="T27" fmla="*/ 189 h 148"/>
                <a:gd name="T28" fmla="*/ 486 w 302"/>
                <a:gd name="T29" fmla="*/ 207 h 148"/>
                <a:gd name="T30" fmla="*/ 523 w 302"/>
                <a:gd name="T31" fmla="*/ 215 h 148"/>
                <a:gd name="T32" fmla="*/ 523 w 302"/>
                <a:gd name="T33" fmla="*/ 184 h 148"/>
                <a:gd name="T34" fmla="*/ 516 w 302"/>
                <a:gd name="T35" fmla="*/ 164 h 148"/>
                <a:gd name="T36" fmla="*/ 499 w 302"/>
                <a:gd name="T37" fmla="*/ 106 h 148"/>
                <a:gd name="T38" fmla="*/ 577 w 302"/>
                <a:gd name="T39" fmla="*/ 76 h 148"/>
                <a:gd name="T40" fmla="*/ 593 w 302"/>
                <a:gd name="T41" fmla="*/ 50 h 148"/>
                <a:gd name="T42" fmla="*/ 661 w 302"/>
                <a:gd name="T43" fmla="*/ 47 h 148"/>
                <a:gd name="T44" fmla="*/ 700 w 302"/>
                <a:gd name="T45" fmla="*/ 56 h 148"/>
                <a:gd name="T46" fmla="*/ 770 w 302"/>
                <a:gd name="T47" fmla="*/ 50 h 148"/>
                <a:gd name="T48" fmla="*/ 905 w 302"/>
                <a:gd name="T49" fmla="*/ 21 h 148"/>
                <a:gd name="T50" fmla="*/ 1070 w 302"/>
                <a:gd name="T51" fmla="*/ 26 h 148"/>
                <a:gd name="T52" fmla="*/ 1106 w 302"/>
                <a:gd name="T53" fmla="*/ 47 h 148"/>
                <a:gd name="T54" fmla="*/ 1100 w 302"/>
                <a:gd name="T55" fmla="*/ 91 h 148"/>
                <a:gd name="T56" fmla="*/ 1160 w 302"/>
                <a:gd name="T57" fmla="*/ 143 h 148"/>
                <a:gd name="T58" fmla="*/ 1121 w 302"/>
                <a:gd name="T59" fmla="*/ 189 h 148"/>
                <a:gd name="T60" fmla="*/ 1060 w 302"/>
                <a:gd name="T61" fmla="*/ 184 h 148"/>
                <a:gd name="T62" fmla="*/ 1023 w 302"/>
                <a:gd name="T63" fmla="*/ 195 h 148"/>
                <a:gd name="T64" fmla="*/ 1060 w 302"/>
                <a:gd name="T65" fmla="*/ 209 h 148"/>
                <a:gd name="T66" fmla="*/ 1028 w 302"/>
                <a:gd name="T67" fmla="*/ 229 h 148"/>
                <a:gd name="T68" fmla="*/ 1038 w 302"/>
                <a:gd name="T69" fmla="*/ 267 h 148"/>
                <a:gd name="T70" fmla="*/ 1008 w 302"/>
                <a:gd name="T71" fmla="*/ 306 h 148"/>
                <a:gd name="T72" fmla="*/ 964 w 302"/>
                <a:gd name="T73" fmla="*/ 334 h 148"/>
                <a:gd name="T74" fmla="*/ 884 w 302"/>
                <a:gd name="T75" fmla="*/ 347 h 148"/>
                <a:gd name="T76" fmla="*/ 792 w 302"/>
                <a:gd name="T77" fmla="*/ 347 h 148"/>
                <a:gd name="T78" fmla="*/ 732 w 302"/>
                <a:gd name="T79" fmla="*/ 366 h 148"/>
                <a:gd name="T80" fmla="*/ 675 w 302"/>
                <a:gd name="T81" fmla="*/ 362 h 148"/>
                <a:gd name="T82" fmla="*/ 577 w 302"/>
                <a:gd name="T83" fmla="*/ 351 h 148"/>
                <a:gd name="T84" fmla="*/ 429 w 302"/>
                <a:gd name="T85" fmla="*/ 332 h 148"/>
                <a:gd name="T86" fmla="*/ 382 w 302"/>
                <a:gd name="T87" fmla="*/ 297 h 148"/>
                <a:gd name="T88" fmla="*/ 332 w 302"/>
                <a:gd name="T89" fmla="*/ 290 h 148"/>
                <a:gd name="T90" fmla="*/ 275 w 302"/>
                <a:gd name="T91" fmla="*/ 290 h 148"/>
                <a:gd name="T92" fmla="*/ 244 w 302"/>
                <a:gd name="T93" fmla="*/ 290 h 148"/>
                <a:gd name="T94" fmla="*/ 185 w 302"/>
                <a:gd name="T95" fmla="*/ 316 h 148"/>
                <a:gd name="T96" fmla="*/ 138 w 302"/>
                <a:gd name="T97" fmla="*/ 290 h 148"/>
                <a:gd name="T98" fmla="*/ 94 w 302"/>
                <a:gd name="T99" fmla="*/ 306 h 148"/>
                <a:gd name="T100" fmla="*/ 56 w 302"/>
                <a:gd name="T101" fmla="*/ 283 h 148"/>
                <a:gd name="T102" fmla="*/ 16 w 302"/>
                <a:gd name="T103" fmla="*/ 267 h 148"/>
                <a:gd name="T104" fmla="*/ 16 w 302"/>
                <a:gd name="T105" fmla="*/ 229 h 148"/>
                <a:gd name="T106" fmla="*/ 10 w 302"/>
                <a:gd name="T107" fmla="*/ 207 h 1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02"/>
                <a:gd name="T163" fmla="*/ 0 h 148"/>
                <a:gd name="T164" fmla="*/ 302 w 302"/>
                <a:gd name="T165" fmla="*/ 148 h 14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02" h="148">
                  <a:moveTo>
                    <a:pt x="2" y="80"/>
                  </a:moveTo>
                  <a:lnTo>
                    <a:pt x="8" y="82"/>
                  </a:lnTo>
                  <a:lnTo>
                    <a:pt x="12" y="78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8" y="84"/>
                  </a:lnTo>
                  <a:lnTo>
                    <a:pt x="22" y="86"/>
                  </a:lnTo>
                  <a:lnTo>
                    <a:pt x="22" y="90"/>
                  </a:lnTo>
                  <a:lnTo>
                    <a:pt x="26" y="90"/>
                  </a:lnTo>
                  <a:lnTo>
                    <a:pt x="26" y="96"/>
                  </a:lnTo>
                  <a:lnTo>
                    <a:pt x="28" y="96"/>
                  </a:lnTo>
                  <a:lnTo>
                    <a:pt x="36" y="88"/>
                  </a:lnTo>
                  <a:lnTo>
                    <a:pt x="36" y="80"/>
                  </a:lnTo>
                  <a:lnTo>
                    <a:pt x="40" y="80"/>
                  </a:lnTo>
                  <a:lnTo>
                    <a:pt x="44" y="80"/>
                  </a:lnTo>
                  <a:lnTo>
                    <a:pt x="52" y="82"/>
                  </a:lnTo>
                  <a:lnTo>
                    <a:pt x="54" y="86"/>
                  </a:lnTo>
                  <a:lnTo>
                    <a:pt x="56" y="90"/>
                  </a:lnTo>
                  <a:lnTo>
                    <a:pt x="66" y="90"/>
                  </a:lnTo>
                  <a:lnTo>
                    <a:pt x="72" y="86"/>
                  </a:lnTo>
                  <a:lnTo>
                    <a:pt x="74" y="82"/>
                  </a:lnTo>
                  <a:lnTo>
                    <a:pt x="78" y="82"/>
                  </a:lnTo>
                  <a:lnTo>
                    <a:pt x="80" y="78"/>
                  </a:lnTo>
                  <a:lnTo>
                    <a:pt x="102" y="78"/>
                  </a:lnTo>
                  <a:lnTo>
                    <a:pt x="104" y="72"/>
                  </a:lnTo>
                  <a:lnTo>
                    <a:pt x="112" y="72"/>
                  </a:lnTo>
                  <a:lnTo>
                    <a:pt x="114" y="76"/>
                  </a:lnTo>
                  <a:lnTo>
                    <a:pt x="124" y="74"/>
                  </a:lnTo>
                  <a:lnTo>
                    <a:pt x="128" y="76"/>
                  </a:lnTo>
                  <a:lnTo>
                    <a:pt x="126" y="80"/>
                  </a:lnTo>
                  <a:lnTo>
                    <a:pt x="134" y="86"/>
                  </a:lnTo>
                  <a:lnTo>
                    <a:pt x="136" y="84"/>
                  </a:lnTo>
                  <a:lnTo>
                    <a:pt x="136" y="76"/>
                  </a:lnTo>
                  <a:lnTo>
                    <a:pt x="136" y="72"/>
                  </a:lnTo>
                  <a:lnTo>
                    <a:pt x="130" y="70"/>
                  </a:lnTo>
                  <a:lnTo>
                    <a:pt x="134" y="64"/>
                  </a:lnTo>
                  <a:lnTo>
                    <a:pt x="124" y="48"/>
                  </a:lnTo>
                  <a:lnTo>
                    <a:pt x="130" y="42"/>
                  </a:lnTo>
                  <a:lnTo>
                    <a:pt x="148" y="34"/>
                  </a:lnTo>
                  <a:lnTo>
                    <a:pt x="150" y="30"/>
                  </a:lnTo>
                  <a:lnTo>
                    <a:pt x="150" y="22"/>
                  </a:lnTo>
                  <a:lnTo>
                    <a:pt x="154" y="20"/>
                  </a:lnTo>
                  <a:lnTo>
                    <a:pt x="160" y="26"/>
                  </a:lnTo>
                  <a:lnTo>
                    <a:pt x="172" y="18"/>
                  </a:lnTo>
                  <a:lnTo>
                    <a:pt x="174" y="18"/>
                  </a:lnTo>
                  <a:lnTo>
                    <a:pt x="182" y="22"/>
                  </a:lnTo>
                  <a:lnTo>
                    <a:pt x="190" y="24"/>
                  </a:lnTo>
                  <a:lnTo>
                    <a:pt x="200" y="20"/>
                  </a:lnTo>
                  <a:lnTo>
                    <a:pt x="212" y="0"/>
                  </a:lnTo>
                  <a:lnTo>
                    <a:pt x="236" y="8"/>
                  </a:lnTo>
                  <a:lnTo>
                    <a:pt x="254" y="14"/>
                  </a:lnTo>
                  <a:lnTo>
                    <a:pt x="278" y="10"/>
                  </a:lnTo>
                  <a:lnTo>
                    <a:pt x="286" y="16"/>
                  </a:lnTo>
                  <a:lnTo>
                    <a:pt x="288" y="18"/>
                  </a:lnTo>
                  <a:lnTo>
                    <a:pt x="288" y="20"/>
                  </a:lnTo>
                  <a:lnTo>
                    <a:pt x="286" y="36"/>
                  </a:lnTo>
                  <a:lnTo>
                    <a:pt x="290" y="42"/>
                  </a:lnTo>
                  <a:lnTo>
                    <a:pt x="302" y="56"/>
                  </a:lnTo>
                  <a:lnTo>
                    <a:pt x="292" y="64"/>
                  </a:lnTo>
                  <a:lnTo>
                    <a:pt x="292" y="74"/>
                  </a:lnTo>
                  <a:lnTo>
                    <a:pt x="280" y="74"/>
                  </a:lnTo>
                  <a:lnTo>
                    <a:pt x="276" y="72"/>
                  </a:lnTo>
                  <a:lnTo>
                    <a:pt x="270" y="72"/>
                  </a:lnTo>
                  <a:lnTo>
                    <a:pt x="266" y="76"/>
                  </a:lnTo>
                  <a:lnTo>
                    <a:pt x="274" y="78"/>
                  </a:lnTo>
                  <a:lnTo>
                    <a:pt x="276" y="82"/>
                  </a:lnTo>
                  <a:lnTo>
                    <a:pt x="274" y="88"/>
                  </a:lnTo>
                  <a:lnTo>
                    <a:pt x="268" y="90"/>
                  </a:lnTo>
                  <a:lnTo>
                    <a:pt x="266" y="100"/>
                  </a:lnTo>
                  <a:lnTo>
                    <a:pt x="270" y="104"/>
                  </a:lnTo>
                  <a:lnTo>
                    <a:pt x="268" y="112"/>
                  </a:lnTo>
                  <a:lnTo>
                    <a:pt x="262" y="120"/>
                  </a:lnTo>
                  <a:lnTo>
                    <a:pt x="250" y="124"/>
                  </a:lnTo>
                  <a:lnTo>
                    <a:pt x="250" y="132"/>
                  </a:lnTo>
                  <a:lnTo>
                    <a:pt x="236" y="130"/>
                  </a:lnTo>
                  <a:lnTo>
                    <a:pt x="230" y="136"/>
                  </a:lnTo>
                  <a:lnTo>
                    <a:pt x="216" y="132"/>
                  </a:lnTo>
                  <a:lnTo>
                    <a:pt x="206" y="136"/>
                  </a:lnTo>
                  <a:lnTo>
                    <a:pt x="194" y="148"/>
                  </a:lnTo>
                  <a:lnTo>
                    <a:pt x="190" y="144"/>
                  </a:lnTo>
                  <a:lnTo>
                    <a:pt x="180" y="144"/>
                  </a:lnTo>
                  <a:lnTo>
                    <a:pt x="176" y="142"/>
                  </a:lnTo>
                  <a:lnTo>
                    <a:pt x="158" y="140"/>
                  </a:lnTo>
                  <a:lnTo>
                    <a:pt x="150" y="138"/>
                  </a:lnTo>
                  <a:lnTo>
                    <a:pt x="134" y="136"/>
                  </a:lnTo>
                  <a:lnTo>
                    <a:pt x="112" y="130"/>
                  </a:lnTo>
                  <a:lnTo>
                    <a:pt x="106" y="120"/>
                  </a:lnTo>
                  <a:lnTo>
                    <a:pt x="100" y="116"/>
                  </a:lnTo>
                  <a:lnTo>
                    <a:pt x="100" y="108"/>
                  </a:lnTo>
                  <a:lnTo>
                    <a:pt x="86" y="114"/>
                  </a:lnTo>
                  <a:lnTo>
                    <a:pt x="80" y="110"/>
                  </a:lnTo>
                  <a:lnTo>
                    <a:pt x="72" y="114"/>
                  </a:lnTo>
                  <a:lnTo>
                    <a:pt x="70" y="112"/>
                  </a:lnTo>
                  <a:lnTo>
                    <a:pt x="64" y="114"/>
                  </a:lnTo>
                  <a:lnTo>
                    <a:pt x="58" y="124"/>
                  </a:lnTo>
                  <a:lnTo>
                    <a:pt x="48" y="124"/>
                  </a:lnTo>
                  <a:lnTo>
                    <a:pt x="36" y="120"/>
                  </a:lnTo>
                  <a:lnTo>
                    <a:pt x="36" y="114"/>
                  </a:lnTo>
                  <a:lnTo>
                    <a:pt x="34" y="112"/>
                  </a:lnTo>
                  <a:lnTo>
                    <a:pt x="24" y="120"/>
                  </a:lnTo>
                  <a:lnTo>
                    <a:pt x="14" y="114"/>
                  </a:lnTo>
                  <a:lnTo>
                    <a:pt x="14" y="110"/>
                  </a:lnTo>
                  <a:lnTo>
                    <a:pt x="2" y="108"/>
                  </a:lnTo>
                  <a:lnTo>
                    <a:pt x="4" y="104"/>
                  </a:lnTo>
                  <a:lnTo>
                    <a:pt x="0" y="96"/>
                  </a:lnTo>
                  <a:lnTo>
                    <a:pt x="4" y="90"/>
                  </a:lnTo>
                  <a:lnTo>
                    <a:pt x="2" y="80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" name="Freeform 27">
              <a:extLst>
                <a:ext uri="{FF2B5EF4-FFF2-40B4-BE49-F238E27FC236}">
                  <a16:creationId xmlns:a16="http://schemas.microsoft.com/office/drawing/2014/main" id="{DDFCE250-2F23-4A92-969B-ECB214615CF5}"/>
                </a:ext>
              </a:extLst>
            </p:cNvPr>
            <p:cNvSpPr>
              <a:spLocks/>
            </p:cNvSpPr>
            <p:nvPr/>
          </p:nvSpPr>
          <p:spPr bwMode="gray">
            <a:xfrm>
              <a:off x="3703351" y="3276623"/>
              <a:ext cx="520996" cy="231808"/>
            </a:xfrm>
            <a:custGeom>
              <a:avLst/>
              <a:gdLst>
                <a:gd name="T0" fmla="*/ 2 w 218"/>
                <a:gd name="T1" fmla="*/ 144 h 102"/>
                <a:gd name="T2" fmla="*/ 14 w 218"/>
                <a:gd name="T3" fmla="*/ 127 h 102"/>
                <a:gd name="T4" fmla="*/ 30 w 218"/>
                <a:gd name="T5" fmla="*/ 118 h 102"/>
                <a:gd name="T6" fmla="*/ 37 w 218"/>
                <a:gd name="T7" fmla="*/ 111 h 102"/>
                <a:gd name="T8" fmla="*/ 50 w 218"/>
                <a:gd name="T9" fmla="*/ 111 h 102"/>
                <a:gd name="T10" fmla="*/ 76 w 218"/>
                <a:gd name="T11" fmla="*/ 118 h 102"/>
                <a:gd name="T12" fmla="*/ 81 w 218"/>
                <a:gd name="T13" fmla="*/ 111 h 102"/>
                <a:gd name="T14" fmla="*/ 89 w 218"/>
                <a:gd name="T15" fmla="*/ 118 h 102"/>
                <a:gd name="T16" fmla="*/ 107 w 218"/>
                <a:gd name="T17" fmla="*/ 111 h 102"/>
                <a:gd name="T18" fmla="*/ 120 w 218"/>
                <a:gd name="T19" fmla="*/ 105 h 102"/>
                <a:gd name="T20" fmla="*/ 126 w 218"/>
                <a:gd name="T21" fmla="*/ 101 h 102"/>
                <a:gd name="T22" fmla="*/ 143 w 218"/>
                <a:gd name="T23" fmla="*/ 101 h 102"/>
                <a:gd name="T24" fmla="*/ 150 w 218"/>
                <a:gd name="T25" fmla="*/ 89 h 102"/>
                <a:gd name="T26" fmla="*/ 157 w 218"/>
                <a:gd name="T27" fmla="*/ 86 h 102"/>
                <a:gd name="T28" fmla="*/ 172 w 218"/>
                <a:gd name="T29" fmla="*/ 78 h 102"/>
                <a:gd name="T30" fmla="*/ 182 w 218"/>
                <a:gd name="T31" fmla="*/ 64 h 102"/>
                <a:gd name="T32" fmla="*/ 187 w 218"/>
                <a:gd name="T33" fmla="*/ 47 h 102"/>
                <a:gd name="T34" fmla="*/ 196 w 218"/>
                <a:gd name="T35" fmla="*/ 42 h 102"/>
                <a:gd name="T36" fmla="*/ 212 w 218"/>
                <a:gd name="T37" fmla="*/ 36 h 102"/>
                <a:gd name="T38" fmla="*/ 227 w 218"/>
                <a:gd name="T39" fmla="*/ 26 h 102"/>
                <a:gd name="T40" fmla="*/ 243 w 218"/>
                <a:gd name="T41" fmla="*/ 15 h 102"/>
                <a:gd name="T42" fmla="*/ 246 w 218"/>
                <a:gd name="T43" fmla="*/ 11 h 102"/>
                <a:gd name="T44" fmla="*/ 265 w 218"/>
                <a:gd name="T45" fmla="*/ 15 h 102"/>
                <a:gd name="T46" fmla="*/ 277 w 218"/>
                <a:gd name="T47" fmla="*/ 2 h 102"/>
                <a:gd name="T48" fmla="*/ 303 w 218"/>
                <a:gd name="T49" fmla="*/ 11 h 102"/>
                <a:gd name="T50" fmla="*/ 332 w 218"/>
                <a:gd name="T51" fmla="*/ 21 h 102"/>
                <a:gd name="T52" fmla="*/ 353 w 218"/>
                <a:gd name="T53" fmla="*/ 2 h 102"/>
                <a:gd name="T54" fmla="*/ 378 w 218"/>
                <a:gd name="T55" fmla="*/ 0 h 102"/>
                <a:gd name="T56" fmla="*/ 392 w 218"/>
                <a:gd name="T57" fmla="*/ 26 h 102"/>
                <a:gd name="T58" fmla="*/ 414 w 218"/>
                <a:gd name="T59" fmla="*/ 36 h 102"/>
                <a:gd name="T60" fmla="*/ 414 w 218"/>
                <a:gd name="T61" fmla="*/ 58 h 102"/>
                <a:gd name="T62" fmla="*/ 453 w 218"/>
                <a:gd name="T63" fmla="*/ 58 h 102"/>
                <a:gd name="T64" fmla="*/ 469 w 218"/>
                <a:gd name="T65" fmla="*/ 36 h 102"/>
                <a:gd name="T66" fmla="*/ 520 w 218"/>
                <a:gd name="T67" fmla="*/ 26 h 102"/>
                <a:gd name="T68" fmla="*/ 580 w 218"/>
                <a:gd name="T69" fmla="*/ 42 h 102"/>
                <a:gd name="T70" fmla="*/ 610 w 218"/>
                <a:gd name="T71" fmla="*/ 21 h 102"/>
                <a:gd name="T72" fmla="*/ 681 w 218"/>
                <a:gd name="T73" fmla="*/ 15 h 102"/>
                <a:gd name="T74" fmla="*/ 731 w 218"/>
                <a:gd name="T75" fmla="*/ 42 h 102"/>
                <a:gd name="T76" fmla="*/ 771 w 218"/>
                <a:gd name="T77" fmla="*/ 64 h 102"/>
                <a:gd name="T78" fmla="*/ 755 w 218"/>
                <a:gd name="T79" fmla="*/ 184 h 102"/>
                <a:gd name="T80" fmla="*/ 685 w 218"/>
                <a:gd name="T81" fmla="*/ 181 h 102"/>
                <a:gd name="T82" fmla="*/ 580 w 218"/>
                <a:gd name="T83" fmla="*/ 160 h 102"/>
                <a:gd name="T84" fmla="*/ 469 w 218"/>
                <a:gd name="T85" fmla="*/ 216 h 102"/>
                <a:gd name="T86" fmla="*/ 401 w 218"/>
                <a:gd name="T87" fmla="*/ 216 h 102"/>
                <a:gd name="T88" fmla="*/ 316 w 218"/>
                <a:gd name="T89" fmla="*/ 228 h 102"/>
                <a:gd name="T90" fmla="*/ 277 w 218"/>
                <a:gd name="T91" fmla="*/ 269 h 102"/>
                <a:gd name="T92" fmla="*/ 143 w 218"/>
                <a:gd name="T93" fmla="*/ 267 h 102"/>
                <a:gd name="T94" fmla="*/ 76 w 218"/>
                <a:gd name="T95" fmla="*/ 240 h 102"/>
                <a:gd name="T96" fmla="*/ 14 w 218"/>
                <a:gd name="T97" fmla="*/ 213 h 102"/>
                <a:gd name="T98" fmla="*/ 2 w 218"/>
                <a:gd name="T99" fmla="*/ 154 h 102"/>
                <a:gd name="T100" fmla="*/ 2 w 218"/>
                <a:gd name="T101" fmla="*/ 149 h 10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18"/>
                <a:gd name="T154" fmla="*/ 0 h 102"/>
                <a:gd name="T155" fmla="*/ 218 w 218"/>
                <a:gd name="T156" fmla="*/ 102 h 10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18" h="102">
                  <a:moveTo>
                    <a:pt x="2" y="56"/>
                  </a:moveTo>
                  <a:lnTo>
                    <a:pt x="2" y="54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6" y="46"/>
                  </a:lnTo>
                  <a:lnTo>
                    <a:pt x="8" y="44"/>
                  </a:lnTo>
                  <a:lnTo>
                    <a:pt x="8" y="42"/>
                  </a:lnTo>
                  <a:lnTo>
                    <a:pt x="10" y="42"/>
                  </a:lnTo>
                  <a:lnTo>
                    <a:pt x="12" y="40"/>
                  </a:lnTo>
                  <a:lnTo>
                    <a:pt x="14" y="42"/>
                  </a:lnTo>
                  <a:lnTo>
                    <a:pt x="16" y="44"/>
                  </a:lnTo>
                  <a:lnTo>
                    <a:pt x="20" y="44"/>
                  </a:lnTo>
                  <a:lnTo>
                    <a:pt x="20" y="42"/>
                  </a:lnTo>
                  <a:lnTo>
                    <a:pt x="22" y="42"/>
                  </a:lnTo>
                  <a:lnTo>
                    <a:pt x="22" y="44"/>
                  </a:lnTo>
                  <a:lnTo>
                    <a:pt x="24" y="44"/>
                  </a:lnTo>
                  <a:lnTo>
                    <a:pt x="26" y="44"/>
                  </a:lnTo>
                  <a:lnTo>
                    <a:pt x="28" y="42"/>
                  </a:lnTo>
                  <a:lnTo>
                    <a:pt x="30" y="42"/>
                  </a:lnTo>
                  <a:lnTo>
                    <a:pt x="32" y="40"/>
                  </a:lnTo>
                  <a:lnTo>
                    <a:pt x="34" y="40"/>
                  </a:lnTo>
                  <a:lnTo>
                    <a:pt x="34" y="38"/>
                  </a:lnTo>
                  <a:lnTo>
                    <a:pt x="36" y="38"/>
                  </a:lnTo>
                  <a:lnTo>
                    <a:pt x="38" y="38"/>
                  </a:lnTo>
                  <a:lnTo>
                    <a:pt x="38" y="36"/>
                  </a:lnTo>
                  <a:lnTo>
                    <a:pt x="40" y="34"/>
                  </a:lnTo>
                  <a:lnTo>
                    <a:pt x="40" y="32"/>
                  </a:lnTo>
                  <a:lnTo>
                    <a:pt x="42" y="32"/>
                  </a:lnTo>
                  <a:lnTo>
                    <a:pt x="44" y="32"/>
                  </a:lnTo>
                  <a:lnTo>
                    <a:pt x="46" y="30"/>
                  </a:lnTo>
                  <a:lnTo>
                    <a:pt x="48" y="26"/>
                  </a:lnTo>
                  <a:lnTo>
                    <a:pt x="48" y="24"/>
                  </a:lnTo>
                  <a:lnTo>
                    <a:pt x="48" y="20"/>
                  </a:lnTo>
                  <a:lnTo>
                    <a:pt x="50" y="18"/>
                  </a:lnTo>
                  <a:lnTo>
                    <a:pt x="50" y="16"/>
                  </a:lnTo>
                  <a:lnTo>
                    <a:pt x="52" y="16"/>
                  </a:lnTo>
                  <a:lnTo>
                    <a:pt x="54" y="16"/>
                  </a:lnTo>
                  <a:lnTo>
                    <a:pt x="56" y="14"/>
                  </a:lnTo>
                  <a:lnTo>
                    <a:pt x="58" y="12"/>
                  </a:lnTo>
                  <a:lnTo>
                    <a:pt x="60" y="10"/>
                  </a:lnTo>
                  <a:lnTo>
                    <a:pt x="62" y="8"/>
                  </a:lnTo>
                  <a:lnTo>
                    <a:pt x="64" y="6"/>
                  </a:lnTo>
                  <a:lnTo>
                    <a:pt x="64" y="4"/>
                  </a:lnTo>
                  <a:lnTo>
                    <a:pt x="66" y="4"/>
                  </a:lnTo>
                  <a:lnTo>
                    <a:pt x="70" y="4"/>
                  </a:lnTo>
                  <a:lnTo>
                    <a:pt x="70" y="6"/>
                  </a:lnTo>
                  <a:lnTo>
                    <a:pt x="72" y="4"/>
                  </a:lnTo>
                  <a:lnTo>
                    <a:pt x="74" y="2"/>
                  </a:lnTo>
                  <a:lnTo>
                    <a:pt x="80" y="4"/>
                  </a:lnTo>
                  <a:lnTo>
                    <a:pt x="80" y="10"/>
                  </a:lnTo>
                  <a:lnTo>
                    <a:pt x="88" y="8"/>
                  </a:lnTo>
                  <a:lnTo>
                    <a:pt x="90" y="2"/>
                  </a:lnTo>
                  <a:lnTo>
                    <a:pt x="94" y="2"/>
                  </a:lnTo>
                  <a:lnTo>
                    <a:pt x="94" y="0"/>
                  </a:lnTo>
                  <a:lnTo>
                    <a:pt x="100" y="0"/>
                  </a:lnTo>
                  <a:lnTo>
                    <a:pt x="104" y="6"/>
                  </a:lnTo>
                  <a:lnTo>
                    <a:pt x="104" y="10"/>
                  </a:lnTo>
                  <a:lnTo>
                    <a:pt x="110" y="10"/>
                  </a:lnTo>
                  <a:lnTo>
                    <a:pt x="110" y="14"/>
                  </a:lnTo>
                  <a:lnTo>
                    <a:pt x="110" y="16"/>
                  </a:lnTo>
                  <a:lnTo>
                    <a:pt x="110" y="22"/>
                  </a:lnTo>
                  <a:lnTo>
                    <a:pt x="118" y="20"/>
                  </a:lnTo>
                  <a:lnTo>
                    <a:pt x="120" y="22"/>
                  </a:lnTo>
                  <a:lnTo>
                    <a:pt x="122" y="20"/>
                  </a:lnTo>
                  <a:lnTo>
                    <a:pt x="124" y="14"/>
                  </a:lnTo>
                  <a:lnTo>
                    <a:pt x="134" y="8"/>
                  </a:lnTo>
                  <a:lnTo>
                    <a:pt x="138" y="10"/>
                  </a:lnTo>
                  <a:lnTo>
                    <a:pt x="146" y="10"/>
                  </a:lnTo>
                  <a:lnTo>
                    <a:pt x="154" y="16"/>
                  </a:lnTo>
                  <a:lnTo>
                    <a:pt x="160" y="12"/>
                  </a:lnTo>
                  <a:lnTo>
                    <a:pt x="162" y="8"/>
                  </a:lnTo>
                  <a:lnTo>
                    <a:pt x="170" y="8"/>
                  </a:lnTo>
                  <a:lnTo>
                    <a:pt x="180" y="6"/>
                  </a:lnTo>
                  <a:lnTo>
                    <a:pt x="182" y="10"/>
                  </a:lnTo>
                  <a:lnTo>
                    <a:pt x="194" y="16"/>
                  </a:lnTo>
                  <a:lnTo>
                    <a:pt x="196" y="20"/>
                  </a:lnTo>
                  <a:lnTo>
                    <a:pt x="204" y="24"/>
                  </a:lnTo>
                  <a:lnTo>
                    <a:pt x="218" y="32"/>
                  </a:lnTo>
                  <a:lnTo>
                    <a:pt x="200" y="70"/>
                  </a:lnTo>
                  <a:lnTo>
                    <a:pt x="188" y="72"/>
                  </a:lnTo>
                  <a:lnTo>
                    <a:pt x="182" y="68"/>
                  </a:lnTo>
                  <a:lnTo>
                    <a:pt x="172" y="60"/>
                  </a:lnTo>
                  <a:lnTo>
                    <a:pt x="154" y="60"/>
                  </a:lnTo>
                  <a:lnTo>
                    <a:pt x="142" y="62"/>
                  </a:lnTo>
                  <a:lnTo>
                    <a:pt x="124" y="82"/>
                  </a:lnTo>
                  <a:lnTo>
                    <a:pt x="116" y="82"/>
                  </a:lnTo>
                  <a:lnTo>
                    <a:pt x="106" y="82"/>
                  </a:lnTo>
                  <a:lnTo>
                    <a:pt x="98" y="82"/>
                  </a:lnTo>
                  <a:lnTo>
                    <a:pt x="84" y="86"/>
                  </a:lnTo>
                  <a:lnTo>
                    <a:pt x="80" y="86"/>
                  </a:lnTo>
                  <a:lnTo>
                    <a:pt x="74" y="102"/>
                  </a:lnTo>
                  <a:lnTo>
                    <a:pt x="46" y="100"/>
                  </a:lnTo>
                  <a:lnTo>
                    <a:pt x="38" y="100"/>
                  </a:lnTo>
                  <a:lnTo>
                    <a:pt x="28" y="94"/>
                  </a:lnTo>
                  <a:lnTo>
                    <a:pt x="20" y="90"/>
                  </a:lnTo>
                  <a:lnTo>
                    <a:pt x="16" y="94"/>
                  </a:lnTo>
                  <a:lnTo>
                    <a:pt x="4" y="80"/>
                  </a:lnTo>
                  <a:lnTo>
                    <a:pt x="0" y="74"/>
                  </a:lnTo>
                  <a:lnTo>
                    <a:pt x="2" y="58"/>
                  </a:lnTo>
                  <a:lnTo>
                    <a:pt x="2" y="56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" name="Freeform 29">
              <a:extLst>
                <a:ext uri="{FF2B5EF4-FFF2-40B4-BE49-F238E27FC236}">
                  <a16:creationId xmlns:a16="http://schemas.microsoft.com/office/drawing/2014/main" id="{CDD744CF-57EC-4673-8973-A8ADB9929D70}"/>
                </a:ext>
              </a:extLst>
            </p:cNvPr>
            <p:cNvSpPr>
              <a:spLocks/>
            </p:cNvSpPr>
            <p:nvPr/>
          </p:nvSpPr>
          <p:spPr bwMode="gray">
            <a:xfrm>
              <a:off x="3641383" y="3414331"/>
              <a:ext cx="626572" cy="358042"/>
            </a:xfrm>
            <a:custGeom>
              <a:avLst/>
              <a:gdLst>
                <a:gd name="T0" fmla="*/ 387 w 260"/>
                <a:gd name="T1" fmla="*/ 388 h 160"/>
                <a:gd name="T2" fmla="*/ 350 w 260"/>
                <a:gd name="T3" fmla="*/ 403 h 160"/>
                <a:gd name="T4" fmla="*/ 318 w 260"/>
                <a:gd name="T5" fmla="*/ 403 h 160"/>
                <a:gd name="T6" fmla="*/ 270 w 260"/>
                <a:gd name="T7" fmla="*/ 408 h 160"/>
                <a:gd name="T8" fmla="*/ 231 w 260"/>
                <a:gd name="T9" fmla="*/ 403 h 160"/>
                <a:gd name="T10" fmla="*/ 157 w 260"/>
                <a:gd name="T11" fmla="*/ 358 h 160"/>
                <a:gd name="T12" fmla="*/ 57 w 260"/>
                <a:gd name="T13" fmla="*/ 321 h 160"/>
                <a:gd name="T14" fmla="*/ 39 w 260"/>
                <a:gd name="T15" fmla="*/ 306 h 160"/>
                <a:gd name="T16" fmla="*/ 16 w 260"/>
                <a:gd name="T17" fmla="*/ 285 h 160"/>
                <a:gd name="T18" fmla="*/ 0 w 260"/>
                <a:gd name="T19" fmla="*/ 250 h 160"/>
                <a:gd name="T20" fmla="*/ 25 w 260"/>
                <a:gd name="T21" fmla="*/ 229 h 160"/>
                <a:gd name="T22" fmla="*/ 31 w 260"/>
                <a:gd name="T23" fmla="*/ 209 h 160"/>
                <a:gd name="T24" fmla="*/ 16 w 260"/>
                <a:gd name="T25" fmla="*/ 198 h 160"/>
                <a:gd name="T26" fmla="*/ 25 w 260"/>
                <a:gd name="T27" fmla="*/ 172 h 160"/>
                <a:gd name="T28" fmla="*/ 48 w 260"/>
                <a:gd name="T29" fmla="*/ 168 h 160"/>
                <a:gd name="T30" fmla="*/ 57 w 260"/>
                <a:gd name="T31" fmla="*/ 153 h 160"/>
                <a:gd name="T32" fmla="*/ 48 w 260"/>
                <a:gd name="T33" fmla="*/ 143 h 160"/>
                <a:gd name="T34" fmla="*/ 16 w 260"/>
                <a:gd name="T35" fmla="*/ 138 h 160"/>
                <a:gd name="T36" fmla="*/ 31 w 260"/>
                <a:gd name="T37" fmla="*/ 126 h 160"/>
                <a:gd name="T38" fmla="*/ 57 w 260"/>
                <a:gd name="T39" fmla="*/ 126 h 160"/>
                <a:gd name="T40" fmla="*/ 72 w 260"/>
                <a:gd name="T41" fmla="*/ 132 h 160"/>
                <a:gd name="T42" fmla="*/ 118 w 260"/>
                <a:gd name="T43" fmla="*/ 132 h 160"/>
                <a:gd name="T44" fmla="*/ 118 w 260"/>
                <a:gd name="T45" fmla="*/ 106 h 160"/>
                <a:gd name="T46" fmla="*/ 157 w 260"/>
                <a:gd name="T47" fmla="*/ 88 h 160"/>
                <a:gd name="T48" fmla="*/ 172 w 260"/>
                <a:gd name="T49" fmla="*/ 76 h 160"/>
                <a:gd name="T50" fmla="*/ 206 w 260"/>
                <a:gd name="T51" fmla="*/ 88 h 160"/>
                <a:gd name="T52" fmla="*/ 245 w 260"/>
                <a:gd name="T53" fmla="*/ 103 h 160"/>
                <a:gd name="T54" fmla="*/ 278 w 260"/>
                <a:gd name="T55" fmla="*/ 103 h 160"/>
                <a:gd name="T56" fmla="*/ 387 w 260"/>
                <a:gd name="T57" fmla="*/ 106 h 160"/>
                <a:gd name="T58" fmla="*/ 415 w 260"/>
                <a:gd name="T59" fmla="*/ 65 h 160"/>
                <a:gd name="T60" fmla="*/ 428 w 260"/>
                <a:gd name="T61" fmla="*/ 65 h 160"/>
                <a:gd name="T62" fmla="*/ 479 w 260"/>
                <a:gd name="T63" fmla="*/ 56 h 160"/>
                <a:gd name="T64" fmla="*/ 516 w 260"/>
                <a:gd name="T65" fmla="*/ 56 h 160"/>
                <a:gd name="T66" fmla="*/ 553 w 260"/>
                <a:gd name="T67" fmla="*/ 56 h 160"/>
                <a:gd name="T68" fmla="*/ 585 w 260"/>
                <a:gd name="T69" fmla="*/ 56 h 160"/>
                <a:gd name="T70" fmla="*/ 658 w 260"/>
                <a:gd name="T71" fmla="*/ 2 h 160"/>
                <a:gd name="T72" fmla="*/ 706 w 260"/>
                <a:gd name="T73" fmla="*/ 0 h 160"/>
                <a:gd name="T74" fmla="*/ 779 w 260"/>
                <a:gd name="T75" fmla="*/ 0 h 160"/>
                <a:gd name="T76" fmla="*/ 816 w 260"/>
                <a:gd name="T77" fmla="*/ 21 h 160"/>
                <a:gd name="T78" fmla="*/ 841 w 260"/>
                <a:gd name="T79" fmla="*/ 30 h 160"/>
                <a:gd name="T80" fmla="*/ 888 w 260"/>
                <a:gd name="T81" fmla="*/ 26 h 160"/>
                <a:gd name="T82" fmla="*/ 894 w 260"/>
                <a:gd name="T83" fmla="*/ 26 h 160"/>
                <a:gd name="T84" fmla="*/ 941 w 260"/>
                <a:gd name="T85" fmla="*/ 47 h 160"/>
                <a:gd name="T86" fmla="*/ 981 w 260"/>
                <a:gd name="T87" fmla="*/ 63 h 160"/>
                <a:gd name="T88" fmla="*/ 1028 w 260"/>
                <a:gd name="T89" fmla="*/ 88 h 160"/>
                <a:gd name="T90" fmla="*/ 999 w 260"/>
                <a:gd name="T91" fmla="*/ 106 h 160"/>
                <a:gd name="T92" fmla="*/ 919 w 260"/>
                <a:gd name="T93" fmla="*/ 122 h 160"/>
                <a:gd name="T94" fmla="*/ 878 w 260"/>
                <a:gd name="T95" fmla="*/ 153 h 160"/>
                <a:gd name="T96" fmla="*/ 816 w 260"/>
                <a:gd name="T97" fmla="*/ 244 h 160"/>
                <a:gd name="T98" fmla="*/ 767 w 260"/>
                <a:gd name="T99" fmla="*/ 300 h 160"/>
                <a:gd name="T100" fmla="*/ 719 w 260"/>
                <a:gd name="T101" fmla="*/ 334 h 160"/>
                <a:gd name="T102" fmla="*/ 696 w 260"/>
                <a:gd name="T103" fmla="*/ 347 h 160"/>
                <a:gd name="T104" fmla="*/ 643 w 260"/>
                <a:gd name="T105" fmla="*/ 347 h 160"/>
                <a:gd name="T106" fmla="*/ 625 w 260"/>
                <a:gd name="T107" fmla="*/ 358 h 160"/>
                <a:gd name="T108" fmla="*/ 610 w 260"/>
                <a:gd name="T109" fmla="*/ 358 h 160"/>
                <a:gd name="T110" fmla="*/ 553 w 260"/>
                <a:gd name="T111" fmla="*/ 351 h 160"/>
                <a:gd name="T112" fmla="*/ 492 w 260"/>
                <a:gd name="T113" fmla="*/ 358 h 160"/>
                <a:gd name="T114" fmla="*/ 387 w 260"/>
                <a:gd name="T115" fmla="*/ 388 h 160"/>
                <a:gd name="T116" fmla="*/ 387 w 260"/>
                <a:gd name="T117" fmla="*/ 388 h 16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60"/>
                <a:gd name="T178" fmla="*/ 0 h 160"/>
                <a:gd name="T179" fmla="*/ 260 w 260"/>
                <a:gd name="T180" fmla="*/ 160 h 16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60" h="160">
                  <a:moveTo>
                    <a:pt x="98" y="152"/>
                  </a:moveTo>
                  <a:lnTo>
                    <a:pt x="88" y="158"/>
                  </a:lnTo>
                  <a:lnTo>
                    <a:pt x="80" y="158"/>
                  </a:lnTo>
                  <a:lnTo>
                    <a:pt x="68" y="160"/>
                  </a:lnTo>
                  <a:lnTo>
                    <a:pt x="58" y="158"/>
                  </a:lnTo>
                  <a:lnTo>
                    <a:pt x="40" y="140"/>
                  </a:lnTo>
                  <a:lnTo>
                    <a:pt x="14" y="126"/>
                  </a:lnTo>
                  <a:lnTo>
                    <a:pt x="10" y="120"/>
                  </a:lnTo>
                  <a:lnTo>
                    <a:pt x="4" y="112"/>
                  </a:lnTo>
                  <a:lnTo>
                    <a:pt x="0" y="98"/>
                  </a:lnTo>
                  <a:lnTo>
                    <a:pt x="6" y="90"/>
                  </a:lnTo>
                  <a:lnTo>
                    <a:pt x="8" y="82"/>
                  </a:lnTo>
                  <a:lnTo>
                    <a:pt x="4" y="78"/>
                  </a:lnTo>
                  <a:lnTo>
                    <a:pt x="6" y="68"/>
                  </a:lnTo>
                  <a:lnTo>
                    <a:pt x="12" y="66"/>
                  </a:lnTo>
                  <a:lnTo>
                    <a:pt x="14" y="60"/>
                  </a:lnTo>
                  <a:lnTo>
                    <a:pt x="12" y="56"/>
                  </a:lnTo>
                  <a:lnTo>
                    <a:pt x="4" y="54"/>
                  </a:lnTo>
                  <a:lnTo>
                    <a:pt x="8" y="50"/>
                  </a:lnTo>
                  <a:lnTo>
                    <a:pt x="14" y="50"/>
                  </a:lnTo>
                  <a:lnTo>
                    <a:pt x="18" y="52"/>
                  </a:lnTo>
                  <a:lnTo>
                    <a:pt x="30" y="52"/>
                  </a:lnTo>
                  <a:lnTo>
                    <a:pt x="30" y="42"/>
                  </a:lnTo>
                  <a:lnTo>
                    <a:pt x="40" y="34"/>
                  </a:lnTo>
                  <a:lnTo>
                    <a:pt x="44" y="30"/>
                  </a:lnTo>
                  <a:lnTo>
                    <a:pt x="52" y="34"/>
                  </a:lnTo>
                  <a:lnTo>
                    <a:pt x="62" y="40"/>
                  </a:lnTo>
                  <a:lnTo>
                    <a:pt x="70" y="40"/>
                  </a:lnTo>
                  <a:lnTo>
                    <a:pt x="98" y="42"/>
                  </a:lnTo>
                  <a:lnTo>
                    <a:pt x="104" y="26"/>
                  </a:lnTo>
                  <a:lnTo>
                    <a:pt x="108" y="26"/>
                  </a:lnTo>
                  <a:lnTo>
                    <a:pt x="122" y="22"/>
                  </a:lnTo>
                  <a:lnTo>
                    <a:pt x="130" y="22"/>
                  </a:lnTo>
                  <a:lnTo>
                    <a:pt x="140" y="22"/>
                  </a:lnTo>
                  <a:lnTo>
                    <a:pt x="148" y="22"/>
                  </a:lnTo>
                  <a:lnTo>
                    <a:pt x="166" y="2"/>
                  </a:lnTo>
                  <a:lnTo>
                    <a:pt x="178" y="0"/>
                  </a:lnTo>
                  <a:lnTo>
                    <a:pt x="196" y="0"/>
                  </a:lnTo>
                  <a:lnTo>
                    <a:pt x="206" y="8"/>
                  </a:lnTo>
                  <a:lnTo>
                    <a:pt x="212" y="12"/>
                  </a:lnTo>
                  <a:lnTo>
                    <a:pt x="224" y="10"/>
                  </a:lnTo>
                  <a:lnTo>
                    <a:pt x="226" y="10"/>
                  </a:lnTo>
                  <a:lnTo>
                    <a:pt x="238" y="18"/>
                  </a:lnTo>
                  <a:lnTo>
                    <a:pt x="248" y="24"/>
                  </a:lnTo>
                  <a:lnTo>
                    <a:pt x="260" y="34"/>
                  </a:lnTo>
                  <a:lnTo>
                    <a:pt x="252" y="42"/>
                  </a:lnTo>
                  <a:lnTo>
                    <a:pt x="232" y="48"/>
                  </a:lnTo>
                  <a:lnTo>
                    <a:pt x="222" y="60"/>
                  </a:lnTo>
                  <a:lnTo>
                    <a:pt x="206" y="96"/>
                  </a:lnTo>
                  <a:lnTo>
                    <a:pt x="194" y="118"/>
                  </a:lnTo>
                  <a:lnTo>
                    <a:pt x="182" y="132"/>
                  </a:lnTo>
                  <a:lnTo>
                    <a:pt x="176" y="136"/>
                  </a:lnTo>
                  <a:lnTo>
                    <a:pt x="162" y="136"/>
                  </a:lnTo>
                  <a:lnTo>
                    <a:pt x="158" y="140"/>
                  </a:lnTo>
                  <a:lnTo>
                    <a:pt x="154" y="140"/>
                  </a:lnTo>
                  <a:lnTo>
                    <a:pt x="140" y="138"/>
                  </a:lnTo>
                  <a:lnTo>
                    <a:pt x="124" y="140"/>
                  </a:lnTo>
                  <a:lnTo>
                    <a:pt x="98" y="152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" name="Freeform 34">
              <a:extLst>
                <a:ext uri="{FF2B5EF4-FFF2-40B4-BE49-F238E27FC236}">
                  <a16:creationId xmlns:a16="http://schemas.microsoft.com/office/drawing/2014/main" id="{A9F0C827-049D-411B-8684-9BFFFED9D947}"/>
                </a:ext>
              </a:extLst>
            </p:cNvPr>
            <p:cNvSpPr>
              <a:spLocks/>
            </p:cNvSpPr>
            <p:nvPr/>
          </p:nvSpPr>
          <p:spPr bwMode="gray">
            <a:xfrm>
              <a:off x="4015489" y="3453349"/>
              <a:ext cx="867562" cy="560014"/>
            </a:xfrm>
            <a:custGeom>
              <a:avLst/>
              <a:gdLst>
                <a:gd name="T0" fmla="*/ 16 w 362"/>
                <a:gd name="T1" fmla="*/ 318 h 250"/>
                <a:gd name="T2" fmla="*/ 86 w 362"/>
                <a:gd name="T3" fmla="*/ 306 h 250"/>
                <a:gd name="T4" fmla="*/ 155 w 362"/>
                <a:gd name="T5" fmla="*/ 260 h 250"/>
                <a:gd name="T6" fmla="*/ 260 w 362"/>
                <a:gd name="T7" fmla="*/ 109 h 250"/>
                <a:gd name="T8" fmla="*/ 379 w 362"/>
                <a:gd name="T9" fmla="*/ 63 h 250"/>
                <a:gd name="T10" fmla="*/ 413 w 362"/>
                <a:gd name="T11" fmla="*/ 35 h 250"/>
                <a:gd name="T12" fmla="*/ 486 w 362"/>
                <a:gd name="T13" fmla="*/ 35 h 250"/>
                <a:gd name="T14" fmla="*/ 623 w 362"/>
                <a:gd name="T15" fmla="*/ 53 h 250"/>
                <a:gd name="T16" fmla="*/ 646 w 362"/>
                <a:gd name="T17" fmla="*/ 66 h 250"/>
                <a:gd name="T18" fmla="*/ 673 w 362"/>
                <a:gd name="T19" fmla="*/ 77 h 250"/>
                <a:gd name="T20" fmla="*/ 716 w 362"/>
                <a:gd name="T21" fmla="*/ 66 h 250"/>
                <a:gd name="T22" fmla="*/ 858 w 362"/>
                <a:gd name="T23" fmla="*/ 41 h 250"/>
                <a:gd name="T24" fmla="*/ 890 w 362"/>
                <a:gd name="T25" fmla="*/ 2 h 250"/>
                <a:gd name="T26" fmla="*/ 945 w 362"/>
                <a:gd name="T27" fmla="*/ 0 h 250"/>
                <a:gd name="T28" fmla="*/ 1036 w 362"/>
                <a:gd name="T29" fmla="*/ 93 h 250"/>
                <a:gd name="T30" fmla="*/ 1151 w 362"/>
                <a:gd name="T31" fmla="*/ 185 h 250"/>
                <a:gd name="T32" fmla="*/ 1169 w 362"/>
                <a:gd name="T33" fmla="*/ 265 h 250"/>
                <a:gd name="T34" fmla="*/ 1160 w 362"/>
                <a:gd name="T35" fmla="*/ 368 h 250"/>
                <a:gd name="T36" fmla="*/ 1145 w 362"/>
                <a:gd name="T37" fmla="*/ 388 h 250"/>
                <a:gd name="T38" fmla="*/ 1169 w 362"/>
                <a:gd name="T39" fmla="*/ 409 h 250"/>
                <a:gd name="T40" fmla="*/ 1175 w 362"/>
                <a:gd name="T41" fmla="*/ 409 h 250"/>
                <a:gd name="T42" fmla="*/ 1210 w 362"/>
                <a:gd name="T43" fmla="*/ 437 h 250"/>
                <a:gd name="T44" fmla="*/ 1253 w 362"/>
                <a:gd name="T45" fmla="*/ 424 h 250"/>
                <a:gd name="T46" fmla="*/ 1328 w 362"/>
                <a:gd name="T47" fmla="*/ 409 h 250"/>
                <a:gd name="T48" fmla="*/ 1382 w 362"/>
                <a:gd name="T49" fmla="*/ 421 h 250"/>
                <a:gd name="T50" fmla="*/ 1365 w 362"/>
                <a:gd name="T51" fmla="*/ 465 h 250"/>
                <a:gd name="T52" fmla="*/ 1319 w 362"/>
                <a:gd name="T53" fmla="*/ 493 h 250"/>
                <a:gd name="T54" fmla="*/ 1271 w 362"/>
                <a:gd name="T55" fmla="*/ 509 h 250"/>
                <a:gd name="T56" fmla="*/ 1221 w 362"/>
                <a:gd name="T57" fmla="*/ 586 h 250"/>
                <a:gd name="T58" fmla="*/ 1210 w 362"/>
                <a:gd name="T59" fmla="*/ 647 h 250"/>
                <a:gd name="T60" fmla="*/ 1074 w 362"/>
                <a:gd name="T61" fmla="*/ 621 h 250"/>
                <a:gd name="T62" fmla="*/ 1022 w 362"/>
                <a:gd name="T63" fmla="*/ 606 h 250"/>
                <a:gd name="T64" fmla="*/ 945 w 362"/>
                <a:gd name="T65" fmla="*/ 581 h 250"/>
                <a:gd name="T66" fmla="*/ 778 w 362"/>
                <a:gd name="T67" fmla="*/ 645 h 250"/>
                <a:gd name="T68" fmla="*/ 661 w 362"/>
                <a:gd name="T69" fmla="*/ 621 h 250"/>
                <a:gd name="T70" fmla="*/ 593 w 362"/>
                <a:gd name="T71" fmla="*/ 638 h 250"/>
                <a:gd name="T72" fmla="*/ 491 w 362"/>
                <a:gd name="T73" fmla="*/ 616 h 250"/>
                <a:gd name="T74" fmla="*/ 407 w 362"/>
                <a:gd name="T75" fmla="*/ 628 h 250"/>
                <a:gd name="T76" fmla="*/ 392 w 362"/>
                <a:gd name="T77" fmla="*/ 616 h 250"/>
                <a:gd name="T78" fmla="*/ 382 w 362"/>
                <a:gd name="T79" fmla="*/ 591 h 250"/>
                <a:gd name="T80" fmla="*/ 322 w 362"/>
                <a:gd name="T81" fmla="*/ 564 h 250"/>
                <a:gd name="T82" fmla="*/ 338 w 362"/>
                <a:gd name="T83" fmla="*/ 533 h 250"/>
                <a:gd name="T84" fmla="*/ 353 w 362"/>
                <a:gd name="T85" fmla="*/ 527 h 250"/>
                <a:gd name="T86" fmla="*/ 303 w 362"/>
                <a:gd name="T87" fmla="*/ 517 h 250"/>
                <a:gd name="T88" fmla="*/ 275 w 362"/>
                <a:gd name="T89" fmla="*/ 544 h 250"/>
                <a:gd name="T90" fmla="*/ 232 w 362"/>
                <a:gd name="T91" fmla="*/ 517 h 250"/>
                <a:gd name="T92" fmla="*/ 194 w 362"/>
                <a:gd name="T93" fmla="*/ 503 h 250"/>
                <a:gd name="T94" fmla="*/ 163 w 362"/>
                <a:gd name="T95" fmla="*/ 503 h 250"/>
                <a:gd name="T96" fmla="*/ 169 w 362"/>
                <a:gd name="T97" fmla="*/ 486 h 250"/>
                <a:gd name="T98" fmla="*/ 169 w 362"/>
                <a:gd name="T99" fmla="*/ 478 h 250"/>
                <a:gd name="T100" fmla="*/ 169 w 362"/>
                <a:gd name="T101" fmla="*/ 462 h 250"/>
                <a:gd name="T102" fmla="*/ 179 w 362"/>
                <a:gd name="T103" fmla="*/ 448 h 250"/>
                <a:gd name="T104" fmla="*/ 118 w 362"/>
                <a:gd name="T105" fmla="*/ 431 h 250"/>
                <a:gd name="T106" fmla="*/ 76 w 362"/>
                <a:gd name="T107" fmla="*/ 394 h 250"/>
                <a:gd name="T108" fmla="*/ 70 w 362"/>
                <a:gd name="T109" fmla="*/ 362 h 250"/>
                <a:gd name="T110" fmla="*/ 48 w 362"/>
                <a:gd name="T111" fmla="*/ 348 h 250"/>
                <a:gd name="T112" fmla="*/ 0 w 362"/>
                <a:gd name="T113" fmla="*/ 318 h 25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62"/>
                <a:gd name="T172" fmla="*/ 0 h 250"/>
                <a:gd name="T173" fmla="*/ 362 w 362"/>
                <a:gd name="T174" fmla="*/ 250 h 25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62" h="250">
                  <a:moveTo>
                    <a:pt x="0" y="122"/>
                  </a:moveTo>
                  <a:lnTo>
                    <a:pt x="4" y="122"/>
                  </a:lnTo>
                  <a:lnTo>
                    <a:pt x="8" y="118"/>
                  </a:lnTo>
                  <a:lnTo>
                    <a:pt x="22" y="118"/>
                  </a:lnTo>
                  <a:lnTo>
                    <a:pt x="28" y="114"/>
                  </a:lnTo>
                  <a:lnTo>
                    <a:pt x="40" y="100"/>
                  </a:lnTo>
                  <a:lnTo>
                    <a:pt x="52" y="78"/>
                  </a:lnTo>
                  <a:lnTo>
                    <a:pt x="68" y="42"/>
                  </a:lnTo>
                  <a:lnTo>
                    <a:pt x="78" y="30"/>
                  </a:lnTo>
                  <a:lnTo>
                    <a:pt x="98" y="24"/>
                  </a:lnTo>
                  <a:lnTo>
                    <a:pt x="106" y="16"/>
                  </a:lnTo>
                  <a:lnTo>
                    <a:pt x="108" y="14"/>
                  </a:lnTo>
                  <a:lnTo>
                    <a:pt x="120" y="16"/>
                  </a:lnTo>
                  <a:lnTo>
                    <a:pt x="126" y="14"/>
                  </a:lnTo>
                  <a:lnTo>
                    <a:pt x="142" y="18"/>
                  </a:lnTo>
                  <a:lnTo>
                    <a:pt x="162" y="20"/>
                  </a:lnTo>
                  <a:lnTo>
                    <a:pt x="168" y="18"/>
                  </a:lnTo>
                  <a:lnTo>
                    <a:pt x="168" y="26"/>
                  </a:lnTo>
                  <a:lnTo>
                    <a:pt x="174" y="26"/>
                  </a:lnTo>
                  <a:lnTo>
                    <a:pt x="176" y="30"/>
                  </a:lnTo>
                  <a:lnTo>
                    <a:pt x="182" y="30"/>
                  </a:lnTo>
                  <a:lnTo>
                    <a:pt x="186" y="26"/>
                  </a:lnTo>
                  <a:lnTo>
                    <a:pt x="190" y="20"/>
                  </a:lnTo>
                  <a:lnTo>
                    <a:pt x="224" y="16"/>
                  </a:lnTo>
                  <a:lnTo>
                    <a:pt x="230" y="12"/>
                  </a:lnTo>
                  <a:lnTo>
                    <a:pt x="232" y="2"/>
                  </a:lnTo>
                  <a:lnTo>
                    <a:pt x="242" y="2"/>
                  </a:lnTo>
                  <a:lnTo>
                    <a:pt x="246" y="0"/>
                  </a:lnTo>
                  <a:lnTo>
                    <a:pt x="258" y="4"/>
                  </a:lnTo>
                  <a:lnTo>
                    <a:pt x="270" y="36"/>
                  </a:lnTo>
                  <a:lnTo>
                    <a:pt x="288" y="64"/>
                  </a:lnTo>
                  <a:lnTo>
                    <a:pt x="300" y="72"/>
                  </a:lnTo>
                  <a:lnTo>
                    <a:pt x="306" y="92"/>
                  </a:lnTo>
                  <a:lnTo>
                    <a:pt x="304" y="102"/>
                  </a:lnTo>
                  <a:lnTo>
                    <a:pt x="300" y="128"/>
                  </a:lnTo>
                  <a:lnTo>
                    <a:pt x="302" y="142"/>
                  </a:lnTo>
                  <a:lnTo>
                    <a:pt x="302" y="148"/>
                  </a:lnTo>
                  <a:lnTo>
                    <a:pt x="298" y="150"/>
                  </a:lnTo>
                  <a:lnTo>
                    <a:pt x="302" y="152"/>
                  </a:lnTo>
                  <a:lnTo>
                    <a:pt x="304" y="158"/>
                  </a:lnTo>
                  <a:lnTo>
                    <a:pt x="306" y="158"/>
                  </a:lnTo>
                  <a:lnTo>
                    <a:pt x="308" y="164"/>
                  </a:lnTo>
                  <a:lnTo>
                    <a:pt x="316" y="168"/>
                  </a:lnTo>
                  <a:lnTo>
                    <a:pt x="326" y="170"/>
                  </a:lnTo>
                  <a:lnTo>
                    <a:pt x="326" y="164"/>
                  </a:lnTo>
                  <a:lnTo>
                    <a:pt x="334" y="164"/>
                  </a:lnTo>
                  <a:lnTo>
                    <a:pt x="346" y="158"/>
                  </a:lnTo>
                  <a:lnTo>
                    <a:pt x="358" y="160"/>
                  </a:lnTo>
                  <a:lnTo>
                    <a:pt x="360" y="162"/>
                  </a:lnTo>
                  <a:lnTo>
                    <a:pt x="362" y="170"/>
                  </a:lnTo>
                  <a:lnTo>
                    <a:pt x="356" y="180"/>
                  </a:lnTo>
                  <a:lnTo>
                    <a:pt x="352" y="188"/>
                  </a:lnTo>
                  <a:lnTo>
                    <a:pt x="344" y="190"/>
                  </a:lnTo>
                  <a:lnTo>
                    <a:pt x="338" y="190"/>
                  </a:lnTo>
                  <a:lnTo>
                    <a:pt x="332" y="196"/>
                  </a:lnTo>
                  <a:lnTo>
                    <a:pt x="322" y="210"/>
                  </a:lnTo>
                  <a:lnTo>
                    <a:pt x="318" y="226"/>
                  </a:lnTo>
                  <a:lnTo>
                    <a:pt x="316" y="246"/>
                  </a:lnTo>
                  <a:lnTo>
                    <a:pt x="316" y="250"/>
                  </a:lnTo>
                  <a:lnTo>
                    <a:pt x="304" y="248"/>
                  </a:lnTo>
                  <a:lnTo>
                    <a:pt x="280" y="240"/>
                  </a:lnTo>
                  <a:lnTo>
                    <a:pt x="272" y="234"/>
                  </a:lnTo>
                  <a:lnTo>
                    <a:pt x="266" y="234"/>
                  </a:lnTo>
                  <a:lnTo>
                    <a:pt x="256" y="224"/>
                  </a:lnTo>
                  <a:lnTo>
                    <a:pt x="246" y="224"/>
                  </a:lnTo>
                  <a:lnTo>
                    <a:pt x="234" y="230"/>
                  </a:lnTo>
                  <a:lnTo>
                    <a:pt x="202" y="248"/>
                  </a:lnTo>
                  <a:lnTo>
                    <a:pt x="196" y="248"/>
                  </a:lnTo>
                  <a:lnTo>
                    <a:pt x="172" y="240"/>
                  </a:lnTo>
                  <a:lnTo>
                    <a:pt x="166" y="240"/>
                  </a:lnTo>
                  <a:lnTo>
                    <a:pt x="154" y="246"/>
                  </a:lnTo>
                  <a:lnTo>
                    <a:pt x="148" y="248"/>
                  </a:lnTo>
                  <a:lnTo>
                    <a:pt x="128" y="238"/>
                  </a:lnTo>
                  <a:lnTo>
                    <a:pt x="120" y="238"/>
                  </a:lnTo>
                  <a:lnTo>
                    <a:pt x="106" y="242"/>
                  </a:lnTo>
                  <a:lnTo>
                    <a:pt x="102" y="242"/>
                  </a:lnTo>
                  <a:lnTo>
                    <a:pt x="102" y="238"/>
                  </a:lnTo>
                  <a:lnTo>
                    <a:pt x="106" y="230"/>
                  </a:lnTo>
                  <a:lnTo>
                    <a:pt x="100" y="228"/>
                  </a:lnTo>
                  <a:lnTo>
                    <a:pt x="92" y="224"/>
                  </a:lnTo>
                  <a:lnTo>
                    <a:pt x="84" y="218"/>
                  </a:lnTo>
                  <a:lnTo>
                    <a:pt x="82" y="210"/>
                  </a:lnTo>
                  <a:lnTo>
                    <a:pt x="88" y="206"/>
                  </a:lnTo>
                  <a:lnTo>
                    <a:pt x="94" y="206"/>
                  </a:lnTo>
                  <a:lnTo>
                    <a:pt x="92" y="204"/>
                  </a:lnTo>
                  <a:lnTo>
                    <a:pt x="82" y="196"/>
                  </a:lnTo>
                  <a:lnTo>
                    <a:pt x="78" y="200"/>
                  </a:lnTo>
                  <a:lnTo>
                    <a:pt x="74" y="206"/>
                  </a:lnTo>
                  <a:lnTo>
                    <a:pt x="72" y="210"/>
                  </a:lnTo>
                  <a:lnTo>
                    <a:pt x="64" y="204"/>
                  </a:lnTo>
                  <a:lnTo>
                    <a:pt x="60" y="200"/>
                  </a:lnTo>
                  <a:lnTo>
                    <a:pt x="50" y="200"/>
                  </a:lnTo>
                  <a:lnTo>
                    <a:pt x="50" y="194"/>
                  </a:lnTo>
                  <a:lnTo>
                    <a:pt x="46" y="194"/>
                  </a:lnTo>
                  <a:lnTo>
                    <a:pt x="42" y="194"/>
                  </a:lnTo>
                  <a:lnTo>
                    <a:pt x="40" y="190"/>
                  </a:lnTo>
                  <a:lnTo>
                    <a:pt x="44" y="188"/>
                  </a:lnTo>
                  <a:lnTo>
                    <a:pt x="48" y="186"/>
                  </a:lnTo>
                  <a:lnTo>
                    <a:pt x="44" y="184"/>
                  </a:lnTo>
                  <a:lnTo>
                    <a:pt x="40" y="182"/>
                  </a:lnTo>
                  <a:lnTo>
                    <a:pt x="44" y="178"/>
                  </a:lnTo>
                  <a:lnTo>
                    <a:pt x="46" y="176"/>
                  </a:lnTo>
                  <a:lnTo>
                    <a:pt x="46" y="172"/>
                  </a:lnTo>
                  <a:lnTo>
                    <a:pt x="40" y="170"/>
                  </a:lnTo>
                  <a:lnTo>
                    <a:pt x="30" y="166"/>
                  </a:lnTo>
                  <a:lnTo>
                    <a:pt x="18" y="154"/>
                  </a:lnTo>
                  <a:lnTo>
                    <a:pt x="20" y="152"/>
                  </a:lnTo>
                  <a:lnTo>
                    <a:pt x="18" y="148"/>
                  </a:lnTo>
                  <a:lnTo>
                    <a:pt x="18" y="140"/>
                  </a:lnTo>
                  <a:lnTo>
                    <a:pt x="14" y="140"/>
                  </a:lnTo>
                  <a:lnTo>
                    <a:pt x="12" y="134"/>
                  </a:lnTo>
                  <a:lnTo>
                    <a:pt x="2" y="130"/>
                  </a:lnTo>
                  <a:lnTo>
                    <a:pt x="0" y="122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21C49EF9-1361-43D0-B3CA-5732E645D146}"/>
              </a:ext>
            </a:extLst>
          </p:cNvPr>
          <p:cNvCxnSpPr>
            <a:cxnSpLocks/>
          </p:cNvCxnSpPr>
          <p:nvPr/>
        </p:nvCxnSpPr>
        <p:spPr>
          <a:xfrm flipH="1">
            <a:off x="3705044" y="2130833"/>
            <a:ext cx="445109" cy="56728"/>
          </a:xfrm>
          <a:prstGeom prst="straightConnector1">
            <a:avLst/>
          </a:prstGeom>
          <a:ln w="28575">
            <a:solidFill>
              <a:srgbClr val="0066A9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BD164BDD-1DC1-4E63-88E5-D8884C3A65A4}"/>
              </a:ext>
            </a:extLst>
          </p:cNvPr>
          <p:cNvCxnSpPr>
            <a:cxnSpLocks/>
          </p:cNvCxnSpPr>
          <p:nvPr/>
        </p:nvCxnSpPr>
        <p:spPr>
          <a:xfrm flipH="1">
            <a:off x="3340407" y="2205828"/>
            <a:ext cx="296969" cy="52364"/>
          </a:xfrm>
          <a:prstGeom prst="straightConnector1">
            <a:avLst/>
          </a:prstGeom>
          <a:ln w="28575">
            <a:solidFill>
              <a:srgbClr val="0066A9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2">
            <a:extLst>
              <a:ext uri="{FF2B5EF4-FFF2-40B4-BE49-F238E27FC236}">
                <a16:creationId xmlns:a16="http://schemas.microsoft.com/office/drawing/2014/main" id="{17B21D85-6E7E-4F3B-A1F6-4AC0158861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4282" y="2129862"/>
            <a:ext cx="413712" cy="277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>
            <a:extLst>
              <a:ext uri="{FF2B5EF4-FFF2-40B4-BE49-F238E27FC236}">
                <a16:creationId xmlns:a16="http://schemas.microsoft.com/office/drawing/2014/main" id="{93B79375-1888-402A-9A40-7F5D7F29B9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3544" y="2271417"/>
            <a:ext cx="554679" cy="2784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4" descr="Bildergebnis für romania flag">
            <a:extLst>
              <a:ext uri="{FF2B5EF4-FFF2-40B4-BE49-F238E27FC236}">
                <a16:creationId xmlns:a16="http://schemas.microsoft.com/office/drawing/2014/main" id="{E33498A1-72A6-4884-8B69-708CA9401E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4461" y="4282496"/>
            <a:ext cx="504056" cy="336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88E4249A-FAB4-4395-9CFC-6B96888AF8D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08104" y="1461229"/>
            <a:ext cx="560203" cy="374335"/>
          </a:xfrm>
          <a:prstGeom prst="rect">
            <a:avLst/>
          </a:prstGeom>
        </p:spPr>
      </p:pic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6D09F843-8896-41F6-93F9-27F68FD11094}"/>
              </a:ext>
            </a:extLst>
          </p:cNvPr>
          <p:cNvCxnSpPr>
            <a:cxnSpLocks/>
          </p:cNvCxnSpPr>
          <p:nvPr/>
        </p:nvCxnSpPr>
        <p:spPr>
          <a:xfrm flipH="1" flipV="1">
            <a:off x="4899276" y="2240972"/>
            <a:ext cx="37475" cy="295530"/>
          </a:xfrm>
          <a:prstGeom prst="straightConnector1">
            <a:avLst/>
          </a:prstGeom>
          <a:ln w="28575">
            <a:solidFill>
              <a:srgbClr val="0066A9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075A27CC-9A6B-4ED8-AE1E-7098026C17F1}"/>
              </a:ext>
            </a:extLst>
          </p:cNvPr>
          <p:cNvCxnSpPr>
            <a:cxnSpLocks/>
          </p:cNvCxnSpPr>
          <p:nvPr/>
        </p:nvCxnSpPr>
        <p:spPr>
          <a:xfrm flipH="1" flipV="1">
            <a:off x="4641741" y="1985440"/>
            <a:ext cx="208662" cy="216024"/>
          </a:xfrm>
          <a:prstGeom prst="straightConnector1">
            <a:avLst/>
          </a:prstGeom>
          <a:ln w="28575">
            <a:solidFill>
              <a:srgbClr val="0066A9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Ellipse 28">
            <a:extLst>
              <a:ext uri="{FF2B5EF4-FFF2-40B4-BE49-F238E27FC236}">
                <a16:creationId xmlns:a16="http://schemas.microsoft.com/office/drawing/2014/main" id="{68DD311E-C19D-4772-B4D8-60A6A64406E0}"/>
              </a:ext>
            </a:extLst>
          </p:cNvPr>
          <p:cNvSpPr/>
          <p:nvPr/>
        </p:nvSpPr>
        <p:spPr>
          <a:xfrm>
            <a:off x="3644511" y="2165991"/>
            <a:ext cx="45719" cy="45719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000" dirty="0"/>
          </a:p>
        </p:txBody>
      </p:sp>
      <p:sp>
        <p:nvSpPr>
          <p:cNvPr id="30" name="Ellipse 29">
            <a:extLst>
              <a:ext uri="{FF2B5EF4-FFF2-40B4-BE49-F238E27FC236}">
                <a16:creationId xmlns:a16="http://schemas.microsoft.com/office/drawing/2014/main" id="{D7FF6E1A-490C-47F0-A710-3298D8AC7DD1}"/>
              </a:ext>
            </a:extLst>
          </p:cNvPr>
          <p:cNvSpPr/>
          <p:nvPr/>
        </p:nvSpPr>
        <p:spPr>
          <a:xfrm>
            <a:off x="4860032" y="2211710"/>
            <a:ext cx="45719" cy="45719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000" dirty="0"/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9F0D590D-C6EC-431A-A2AD-F88793D998D5}"/>
              </a:ext>
            </a:extLst>
          </p:cNvPr>
          <p:cNvSpPr/>
          <p:nvPr/>
        </p:nvSpPr>
        <p:spPr>
          <a:xfrm>
            <a:off x="3750437" y="2407683"/>
            <a:ext cx="45719" cy="45719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000" dirty="0"/>
          </a:p>
        </p:txBody>
      </p:sp>
      <p:sp>
        <p:nvSpPr>
          <p:cNvPr id="32" name="Ellipse 31">
            <a:extLst>
              <a:ext uri="{FF2B5EF4-FFF2-40B4-BE49-F238E27FC236}">
                <a16:creationId xmlns:a16="http://schemas.microsoft.com/office/drawing/2014/main" id="{6385BACB-4B2C-4783-ABA2-302428CD863E}"/>
              </a:ext>
            </a:extLst>
          </p:cNvPr>
          <p:cNvSpPr/>
          <p:nvPr/>
        </p:nvSpPr>
        <p:spPr>
          <a:xfrm>
            <a:off x="5508104" y="3795886"/>
            <a:ext cx="45719" cy="45719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0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8" name="Textfeld 37">
                <a:extLst>
                  <a:ext uri="{FF2B5EF4-FFF2-40B4-BE49-F238E27FC236}">
                    <a16:creationId xmlns:a16="http://schemas.microsoft.com/office/drawing/2014/main" id="{0687351A-C83D-4E4E-A9BF-39BDD0116F39}"/>
                  </a:ext>
                </a:extLst>
              </p:cNvPr>
              <p:cNvSpPr txBox="1"/>
              <p:nvPr/>
            </p:nvSpPr>
            <p:spPr>
              <a:xfrm>
                <a:off x="2491126" y="1948208"/>
                <a:ext cx="861133" cy="553998"/>
              </a:xfrm>
              <a:prstGeom prst="rect">
                <a:avLst/>
              </a:prstGeom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de-DE" sz="1000" b="1" i="1" dirty="0" smtClean="0">
                        <a:solidFill>
                          <a:srgbClr val="0066AA"/>
                        </a:solidFill>
                        <a:latin typeface="Cambria Math"/>
                      </a:rPr>
                      <m:t>𝑷𝑽𝒂𝒓</m:t>
                    </m:r>
                  </m:oMath>
                </a14:m>
                <a:r>
                  <a:rPr lang="de-DE" sz="1000" b="1" dirty="0">
                    <a:solidFill>
                      <a:srgbClr val="0066AA"/>
                    </a:solidFill>
                  </a:rPr>
                  <a:t> = N.A. </a:t>
                </a:r>
              </a:p>
              <a:p>
                <a:r>
                  <a:rPr lang="de-DE" sz="1000" b="1" dirty="0"/>
                  <a:t>f = 1</a:t>
                </a:r>
              </a:p>
              <a:p>
                <a:r>
                  <a:rPr lang="de-DE" sz="1000" b="1" dirty="0" err="1">
                    <a:solidFill>
                      <a:srgbClr val="005C2A"/>
                    </a:solidFill>
                  </a:rPr>
                  <a:t>PVuc</a:t>
                </a:r>
                <a:r>
                  <a:rPr lang="de-DE" sz="1000" b="1" dirty="0">
                    <a:solidFill>
                      <a:srgbClr val="005C2A"/>
                    </a:solidFill>
                  </a:rPr>
                  <a:t> = N.A </a:t>
                </a:r>
                <a:endParaRPr lang="en-GB" sz="1000" b="1" dirty="0">
                  <a:solidFill>
                    <a:srgbClr val="005C2A"/>
                  </a:solidFill>
                </a:endParaRPr>
              </a:p>
            </p:txBody>
          </p:sp>
        </mc:Choice>
        <mc:Fallback xmlns="">
          <p:sp>
            <p:nvSpPr>
              <p:cNvPr id="38" name="Textfeld 37">
                <a:extLst>
                  <a:ext uri="{FF2B5EF4-FFF2-40B4-BE49-F238E27FC236}">
                    <a16:creationId xmlns:a16="http://schemas.microsoft.com/office/drawing/2014/main" id="{0687351A-C83D-4E4E-A9BF-39BDD0116F3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91126" y="1948208"/>
                <a:ext cx="861133" cy="553998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9" name="Textfeld 38">
                <a:extLst>
                  <a:ext uri="{FF2B5EF4-FFF2-40B4-BE49-F238E27FC236}">
                    <a16:creationId xmlns:a16="http://schemas.microsoft.com/office/drawing/2014/main" id="{592DFAD6-6B78-4A43-B9AE-EB469EF40884}"/>
                  </a:ext>
                </a:extLst>
              </p:cNvPr>
              <p:cNvSpPr txBox="1"/>
              <p:nvPr/>
            </p:nvSpPr>
            <p:spPr>
              <a:xfrm>
                <a:off x="4054460" y="1414479"/>
                <a:ext cx="1229824" cy="553998"/>
              </a:xfrm>
              <a:prstGeom prst="rect">
                <a:avLst/>
              </a:prstGeom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de-DE" sz="1000" b="1" i="1" dirty="0" smtClean="0">
                        <a:solidFill>
                          <a:srgbClr val="0066AA"/>
                        </a:solidFill>
                        <a:latin typeface="Cambria Math"/>
                      </a:rPr>
                      <m:t>𝑷𝑽𝒂𝒓</m:t>
                    </m:r>
                  </m:oMath>
                </a14:m>
                <a:r>
                  <a:rPr lang="de-DE" sz="1000" b="1" dirty="0">
                    <a:solidFill>
                      <a:srgbClr val="0066AA"/>
                    </a:solidFill>
                  </a:rPr>
                  <a:t> = 71.792.433 €</a:t>
                </a:r>
              </a:p>
              <a:p>
                <a:r>
                  <a:rPr lang="de-DE" sz="1000" b="1" dirty="0"/>
                  <a:t>f = 1</a:t>
                </a:r>
              </a:p>
              <a:p>
                <a:r>
                  <a:rPr lang="de-DE" sz="1000" b="1" dirty="0" err="1">
                    <a:solidFill>
                      <a:srgbClr val="005C2A"/>
                    </a:solidFill>
                  </a:rPr>
                  <a:t>PVuc</a:t>
                </a:r>
                <a:r>
                  <a:rPr lang="de-DE" sz="1000" b="1" dirty="0">
                    <a:solidFill>
                      <a:srgbClr val="005C2A"/>
                    </a:solidFill>
                  </a:rPr>
                  <a:t> = 71.792.433 €</a:t>
                </a:r>
                <a:endParaRPr lang="en-GB" sz="1000" b="1" dirty="0">
                  <a:solidFill>
                    <a:srgbClr val="005C2A"/>
                  </a:solidFill>
                </a:endParaRPr>
              </a:p>
            </p:txBody>
          </p:sp>
        </mc:Choice>
        <mc:Fallback xmlns="">
          <p:sp>
            <p:nvSpPr>
              <p:cNvPr id="39" name="Textfeld 38">
                <a:extLst>
                  <a:ext uri="{FF2B5EF4-FFF2-40B4-BE49-F238E27FC236}">
                    <a16:creationId xmlns:a16="http://schemas.microsoft.com/office/drawing/2014/main" id="{592DFAD6-6B78-4A43-B9AE-EB469EF4088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54460" y="1414479"/>
                <a:ext cx="1229824" cy="553998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0" name="Textfeld 39">
                <a:extLst>
                  <a:ext uri="{FF2B5EF4-FFF2-40B4-BE49-F238E27FC236}">
                    <a16:creationId xmlns:a16="http://schemas.microsoft.com/office/drawing/2014/main" id="{33A7F960-A7FA-4AA6-8E9D-52AB363A7C9A}"/>
                  </a:ext>
                </a:extLst>
              </p:cNvPr>
              <p:cNvSpPr txBox="1"/>
              <p:nvPr/>
            </p:nvSpPr>
            <p:spPr>
              <a:xfrm>
                <a:off x="4001937" y="2555520"/>
                <a:ext cx="1229824" cy="553998"/>
              </a:xfrm>
              <a:prstGeom prst="rect">
                <a:avLst/>
              </a:prstGeom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de-DE" sz="1000" b="1" i="1" dirty="0" smtClean="0">
                        <a:solidFill>
                          <a:srgbClr val="0066AA"/>
                        </a:solidFill>
                        <a:latin typeface="Cambria Math"/>
                      </a:rPr>
                      <m:t>𝑷𝑽𝒂𝒓</m:t>
                    </m:r>
                  </m:oMath>
                </a14:m>
                <a:r>
                  <a:rPr lang="de-DE" sz="1000" b="1" dirty="0">
                    <a:solidFill>
                      <a:srgbClr val="0066AA"/>
                    </a:solidFill>
                  </a:rPr>
                  <a:t> = 58.463.870 €</a:t>
                </a:r>
              </a:p>
              <a:p>
                <a:r>
                  <a:rPr lang="de-DE" sz="1000" b="1" dirty="0"/>
                  <a:t>f = 1</a:t>
                </a:r>
              </a:p>
              <a:p>
                <a:r>
                  <a:rPr lang="de-DE" sz="1000" b="1" dirty="0" err="1">
                    <a:solidFill>
                      <a:srgbClr val="005C2A"/>
                    </a:solidFill>
                  </a:rPr>
                  <a:t>PVuc</a:t>
                </a:r>
                <a:r>
                  <a:rPr lang="de-DE" sz="1000" b="1" dirty="0">
                    <a:solidFill>
                      <a:srgbClr val="005C2A"/>
                    </a:solidFill>
                  </a:rPr>
                  <a:t> = 58.463.870 €</a:t>
                </a:r>
                <a:endParaRPr lang="en-GB" sz="1000" b="1" dirty="0">
                  <a:solidFill>
                    <a:srgbClr val="005C2A"/>
                  </a:solidFill>
                </a:endParaRPr>
              </a:p>
            </p:txBody>
          </p:sp>
        </mc:Choice>
        <mc:Fallback xmlns="">
          <p:sp>
            <p:nvSpPr>
              <p:cNvPr id="40" name="Textfeld 39">
                <a:extLst>
                  <a:ext uri="{FF2B5EF4-FFF2-40B4-BE49-F238E27FC236}">
                    <a16:creationId xmlns:a16="http://schemas.microsoft.com/office/drawing/2014/main" id="{33A7F960-A7FA-4AA6-8E9D-52AB363A7C9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01937" y="2555520"/>
                <a:ext cx="1229824" cy="553998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2" name="Inhaltsplatzhalter 63">
                <a:extLst>
                  <a:ext uri="{FF2B5EF4-FFF2-40B4-BE49-F238E27FC236}">
                    <a16:creationId xmlns:a16="http://schemas.microsoft.com/office/drawing/2014/main" id="{44B26FCE-5435-4DE0-9F94-4EC66024B94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516" y="3344064"/>
                <a:ext cx="2250937" cy="1733808"/>
              </a:xfrm>
              <a:prstGeom prst="rect">
                <a:avLst/>
              </a:prstGeom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rtlCol="0">
                <a:spAutoFit/>
              </a:bodyPr>
              <a:lstStyle>
                <a:lvl1pPr marL="0" indent="0" algn="l" defTabSz="914400" rtl="0" eaLnBrk="1" latinLnBrk="0" hangingPunct="1">
                  <a:spcBef>
                    <a:spcPts val="500"/>
                  </a:spcBef>
                  <a:buFont typeface="Arial" pitchFamily="34" charset="0"/>
                  <a:buNone/>
                  <a:defRPr sz="1600" kern="1200">
                    <a:solidFill>
                      <a:schemeClr val="tx1"/>
                    </a:solidFill>
                    <a:latin typeface="+mj-lt"/>
                    <a:ea typeface="+mn-ea"/>
                    <a:cs typeface="Arial" pitchFamily="34" charset="0"/>
                  </a:defRPr>
                </a:lvl1pPr>
                <a:lvl2pPr marL="268288" indent="-268288" algn="l" defTabSz="914400" rtl="0" eaLnBrk="1" latinLnBrk="0" hangingPunct="1">
                  <a:spcBef>
                    <a:spcPts val="500"/>
                  </a:spcBef>
                  <a:buClr>
                    <a:srgbClr val="0066A9"/>
                  </a:buClr>
                  <a:buFont typeface="Arial" panose="020B0604020202020204" pitchFamily="34" charset="0"/>
                  <a:buChar char="&gt;"/>
                  <a:defRPr sz="1600" kern="1200">
                    <a:solidFill>
                      <a:schemeClr val="tx1"/>
                    </a:solidFill>
                    <a:latin typeface="+mj-lt"/>
                    <a:ea typeface="+mn-ea"/>
                    <a:cs typeface="Arial" pitchFamily="34" charset="0"/>
                  </a:defRPr>
                </a:lvl2pPr>
                <a:lvl3pPr marL="536575" indent="-268288" algn="l" defTabSz="914400" rtl="0" eaLnBrk="1" latinLnBrk="0" hangingPunct="1">
                  <a:spcBef>
                    <a:spcPts val="400"/>
                  </a:spcBef>
                  <a:buClr>
                    <a:srgbClr val="0066A9"/>
                  </a:buClr>
                  <a:buFont typeface="Wingdings" panose="05000000000000000000" pitchFamily="2" charset="2"/>
                  <a:buChar char=""/>
                  <a:defRPr sz="1600" kern="1200">
                    <a:solidFill>
                      <a:schemeClr val="tx1"/>
                    </a:solidFill>
                    <a:latin typeface="+mj-lt"/>
                    <a:ea typeface="+mn-ea"/>
                    <a:cs typeface="Arial" pitchFamily="34" charset="0"/>
                  </a:defRPr>
                </a:lvl3pPr>
                <a:lvl4pPr marL="720725" indent="-273050" algn="l" defTabSz="914400" rtl="0" eaLnBrk="1" latinLnBrk="0" hangingPunct="1">
                  <a:spcBef>
                    <a:spcPts val="400"/>
                  </a:spcBef>
                  <a:buFont typeface="Symbol" panose="05050102010706020507" pitchFamily="18" charset="2"/>
                  <a:buChar char="-"/>
                  <a:defRPr sz="1600" kern="1200">
                    <a:solidFill>
                      <a:schemeClr val="tx1"/>
                    </a:solidFill>
                    <a:latin typeface="+mj-lt"/>
                    <a:ea typeface="+mn-ea"/>
                    <a:cs typeface="Arial" pitchFamily="34" charset="0"/>
                  </a:defRPr>
                </a:lvl4pPr>
                <a:lvl5pPr marL="896938" indent="-269875" algn="l" defTabSz="914400" rtl="0" eaLnBrk="1" latinLnBrk="0" hangingPunct="1">
                  <a:spcBef>
                    <a:spcPts val="400"/>
                  </a:spcBef>
                  <a:buFont typeface="Arial" pitchFamily="34" charset="0"/>
                  <a:buChar char="–"/>
                  <a:defRPr sz="1600" kern="1200">
                    <a:solidFill>
                      <a:schemeClr val="tx1"/>
                    </a:solidFill>
                    <a:latin typeface="+mj-lt"/>
                    <a:ea typeface="+mn-ea"/>
                    <a:cs typeface="Arial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de-DE" sz="1800" b="1" dirty="0"/>
                  <a:t>Economic </a:t>
                </a:r>
                <a:r>
                  <a:rPr lang="de-DE" sz="1800" b="1" dirty="0" err="1"/>
                  <a:t>test</a:t>
                </a:r>
                <a:endParaRPr lang="de-DE" sz="1800" b="1" dirty="0"/>
              </a:p>
              <a:p>
                <a:endParaRPr lang="de-DE" sz="1800" b="1" i="1" dirty="0">
                  <a:latin typeface="Cambria Math"/>
                </a:endParaRPr>
              </a:p>
              <a:p>
                <a14:m>
                  <m:oMath xmlns:m="http://schemas.openxmlformats.org/officeDocument/2006/math">
                    <m:r>
                      <a:rPr lang="de-DE" sz="1800" b="1" i="1" dirty="0" smtClean="0">
                        <a:solidFill>
                          <a:srgbClr val="0066AA"/>
                        </a:solidFill>
                        <a:highlight>
                          <a:srgbClr val="FFFF00"/>
                        </a:highlight>
                        <a:latin typeface="Cambria Math"/>
                      </a:rPr>
                      <m:t>𝑷𝑽𝒂𝒓</m:t>
                    </m:r>
                  </m:oMath>
                </a14:m>
                <a:r>
                  <a:rPr lang="de-DE" sz="1800" b="1" dirty="0">
                    <a:solidFill>
                      <a:srgbClr val="0066AA"/>
                    </a:solidFill>
                    <a:highlight>
                      <a:srgbClr val="FFFF00"/>
                    </a:highlight>
                  </a:rPr>
                  <a:t> = 130.256.303 €</a:t>
                </a:r>
              </a:p>
              <a:p>
                <a:r>
                  <a:rPr lang="de-DE" sz="1800" b="1" dirty="0"/>
                  <a:t>f = 1</a:t>
                </a:r>
              </a:p>
              <a:p>
                <a:r>
                  <a:rPr lang="de-DE" sz="1800" b="1" i="1" dirty="0">
                    <a:solidFill>
                      <a:srgbClr val="005C2A"/>
                    </a:solidFill>
                  </a:rPr>
                  <a:t>PV </a:t>
                </a:r>
                <a:r>
                  <a:rPr lang="de-DE" sz="1800" b="1" i="1" dirty="0" err="1">
                    <a:solidFill>
                      <a:srgbClr val="005C2A"/>
                    </a:solidFill>
                  </a:rPr>
                  <a:t>uc</a:t>
                </a:r>
                <a:r>
                  <a:rPr lang="de-DE" sz="1800" b="1" i="1" dirty="0">
                    <a:solidFill>
                      <a:srgbClr val="005C2A"/>
                    </a:solidFill>
                  </a:rPr>
                  <a:t> </a:t>
                </a:r>
                <a:r>
                  <a:rPr lang="de-DE" sz="1800" b="1" dirty="0">
                    <a:solidFill>
                      <a:srgbClr val="005C2A"/>
                    </a:solidFill>
                  </a:rPr>
                  <a:t>= 130.256.303 €</a:t>
                </a:r>
                <a:endParaRPr lang="en-GB" sz="1800" b="1" dirty="0">
                  <a:solidFill>
                    <a:srgbClr val="005C2A"/>
                  </a:solidFill>
                </a:endParaRPr>
              </a:p>
            </p:txBody>
          </p:sp>
        </mc:Choice>
        <mc:Fallback xmlns="">
          <p:sp>
            <p:nvSpPr>
              <p:cNvPr id="42" name="Inhaltsplatzhalter 63">
                <a:extLst>
                  <a:ext uri="{FF2B5EF4-FFF2-40B4-BE49-F238E27FC236}">
                    <a16:creationId xmlns:a16="http://schemas.microsoft.com/office/drawing/2014/main" id="{44B26FCE-5435-4DE0-9F94-4EC66024B94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516" y="3344064"/>
                <a:ext cx="2250937" cy="1733808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160742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  <p:bldP spid="39" grpId="0" animBg="1"/>
      <p:bldP spid="40" grpId="0" animBg="1"/>
      <p:bldP spid="42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6" name="Rechteck: obere Ecken abgerundet 5"/>
          <p:cNvSpPr/>
          <p:nvPr/>
        </p:nvSpPr>
        <p:spPr>
          <a:xfrm rot="16200000">
            <a:off x="5901553" y="-102843"/>
            <a:ext cx="540000" cy="5976937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b="1" dirty="0">
              <a:solidFill>
                <a:schemeClr val="accent1"/>
              </a:solidFill>
            </a:endParaRPr>
          </a:p>
        </p:txBody>
      </p:sp>
      <p:sp>
        <p:nvSpPr>
          <p:cNvPr id="7" name="Rechteck: obere Ecken abgerundet 6"/>
          <p:cNvSpPr/>
          <p:nvPr/>
        </p:nvSpPr>
        <p:spPr>
          <a:xfrm rot="16200000">
            <a:off x="5901553" y="-801014"/>
            <a:ext cx="540000" cy="5976937"/>
          </a:xfrm>
          <a:prstGeom prst="round2SameRect">
            <a:avLst>
              <a:gd name="adj1" fmla="val 17861"/>
              <a:gd name="adj2" fmla="val 0"/>
            </a:avLst>
          </a:prstGeom>
          <a:solidFill>
            <a:schemeClr val="bg1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b="1" u="none" dirty="0">
              <a:solidFill>
                <a:schemeClr val="bg1"/>
              </a:solidFill>
            </a:endParaRPr>
          </a:p>
        </p:txBody>
      </p:sp>
      <p:sp>
        <p:nvSpPr>
          <p:cNvPr id="8" name="Rechteck: obere Ecken abgerundet 7"/>
          <p:cNvSpPr/>
          <p:nvPr/>
        </p:nvSpPr>
        <p:spPr>
          <a:xfrm rot="16200000">
            <a:off x="5885531" y="-1499185"/>
            <a:ext cx="540000" cy="5976937"/>
          </a:xfrm>
          <a:prstGeom prst="round2SameRect">
            <a:avLst>
              <a:gd name="adj1" fmla="val 17861"/>
              <a:gd name="adj2" fmla="val 0"/>
            </a:avLst>
          </a:prstGeom>
          <a:solidFill>
            <a:schemeClr val="accent1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216000" rIns="0" rtlCol="0" anchor="ctr"/>
          <a:lstStyle/>
          <a:p>
            <a:endParaRPr lang="de-DE" b="1" dirty="0">
              <a:solidFill>
                <a:schemeClr val="accent1"/>
              </a:solidFill>
            </a:endParaRPr>
          </a:p>
        </p:txBody>
      </p:sp>
      <p:sp>
        <p:nvSpPr>
          <p:cNvPr id="9" name="Rechteck: obere Ecken abgerundet 8"/>
          <p:cNvSpPr/>
          <p:nvPr/>
        </p:nvSpPr>
        <p:spPr>
          <a:xfrm rot="16200000">
            <a:off x="5901553" y="595328"/>
            <a:ext cx="540000" cy="5976937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b="1" dirty="0">
              <a:solidFill>
                <a:schemeClr val="accent1"/>
              </a:solidFill>
            </a:endParaRPr>
          </a:p>
        </p:txBody>
      </p:sp>
      <p:sp>
        <p:nvSpPr>
          <p:cNvPr id="10" name="Rechteck: obere Ecken abgerundet 9"/>
          <p:cNvSpPr/>
          <p:nvPr/>
        </p:nvSpPr>
        <p:spPr>
          <a:xfrm rot="16200000">
            <a:off x="5901553" y="1293501"/>
            <a:ext cx="540000" cy="5976937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b="1" dirty="0">
              <a:solidFill>
                <a:schemeClr val="accent1"/>
              </a:solidFill>
            </a:endParaRPr>
          </a:p>
        </p:txBody>
      </p:sp>
      <p:sp>
        <p:nvSpPr>
          <p:cNvPr id="11" name="Inhaltsplatzhalter 5"/>
          <p:cNvSpPr txBox="1">
            <a:spLocks/>
          </p:cNvSpPr>
          <p:nvPr/>
        </p:nvSpPr>
        <p:spPr>
          <a:xfrm>
            <a:off x="3455876" y="1302263"/>
            <a:ext cx="5364274" cy="374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800" b="1" kern="1200">
                <a:solidFill>
                  <a:schemeClr val="bg1"/>
                </a:solidFill>
                <a:latin typeface="+mj-lt"/>
                <a:ea typeface="+mn-ea"/>
                <a:cs typeface="Arial" pitchFamily="34" charset="0"/>
              </a:defRPr>
            </a:lvl1pPr>
            <a:lvl2pPr marL="179388" indent="-179388" algn="l" defTabSz="914400" rtl="0" eaLnBrk="1" latinLnBrk="0" hangingPunct="1">
              <a:spcBef>
                <a:spcPts val="5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47675" indent="-268288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7063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1. </a:t>
            </a:r>
            <a:r>
              <a:rPr lang="de-DE" b="0" dirty="0"/>
              <a:t>ROHUAT </a:t>
            </a:r>
            <a:r>
              <a:rPr lang="de-DE" b="0" dirty="0" err="1"/>
              <a:t>status</a:t>
            </a:r>
            <a:r>
              <a:rPr lang="de-DE" b="0" dirty="0"/>
              <a:t> on 27 April 2017</a:t>
            </a:r>
            <a:endParaRPr lang="de-DE" dirty="0"/>
          </a:p>
        </p:txBody>
      </p:sp>
      <p:sp>
        <p:nvSpPr>
          <p:cNvPr id="12" name="Inhaltsplatzhalter 5"/>
          <p:cNvSpPr txBox="1">
            <a:spLocks/>
          </p:cNvSpPr>
          <p:nvPr/>
        </p:nvSpPr>
        <p:spPr>
          <a:xfrm>
            <a:off x="3455876" y="2000434"/>
            <a:ext cx="5364274" cy="374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800" b="0" kern="1200" baseline="0">
                <a:solidFill>
                  <a:schemeClr val="accent1"/>
                </a:solidFill>
                <a:latin typeface="+mj-lt"/>
                <a:ea typeface="+mn-ea"/>
                <a:cs typeface="Arial" pitchFamily="34" charset="0"/>
              </a:defRPr>
            </a:lvl1pPr>
            <a:lvl2pPr marL="179388" indent="-179388" algn="l" defTabSz="914400" rtl="0" eaLnBrk="1" latinLnBrk="0" hangingPunct="1">
              <a:spcBef>
                <a:spcPts val="5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47675" indent="-268288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7063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2. </a:t>
            </a:r>
            <a:r>
              <a:rPr lang="de-DE" dirty="0">
                <a:solidFill>
                  <a:srgbClr val="0066A9"/>
                </a:solidFill>
              </a:rPr>
              <a:t>ROHU     </a:t>
            </a:r>
            <a:r>
              <a:rPr lang="de-DE" dirty="0" err="1">
                <a:solidFill>
                  <a:srgbClr val="0066A9"/>
                </a:solidFill>
              </a:rPr>
              <a:t>status</a:t>
            </a:r>
            <a:r>
              <a:rPr lang="de-DE" dirty="0">
                <a:solidFill>
                  <a:srgbClr val="0066A9"/>
                </a:solidFill>
              </a:rPr>
              <a:t> on 12 </a:t>
            </a:r>
            <a:r>
              <a:rPr lang="de-DE" dirty="0" err="1">
                <a:solidFill>
                  <a:srgbClr val="0066A9"/>
                </a:solidFill>
              </a:rPr>
              <a:t>October</a:t>
            </a:r>
            <a:r>
              <a:rPr lang="de-DE" dirty="0">
                <a:solidFill>
                  <a:srgbClr val="0066A9"/>
                </a:solidFill>
              </a:rPr>
              <a:t> 2017</a:t>
            </a:r>
            <a:endParaRPr lang="de-DE" dirty="0"/>
          </a:p>
        </p:txBody>
      </p:sp>
      <p:sp>
        <p:nvSpPr>
          <p:cNvPr id="13" name="Inhaltsplatzhalter 5"/>
          <p:cNvSpPr txBox="1">
            <a:spLocks/>
          </p:cNvSpPr>
          <p:nvPr/>
        </p:nvSpPr>
        <p:spPr>
          <a:xfrm>
            <a:off x="3455876" y="2698605"/>
            <a:ext cx="5364274" cy="374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Arial" pitchFamily="34" charset="0"/>
              </a:defRPr>
            </a:lvl1pPr>
            <a:lvl2pPr marL="179388" indent="-179388" algn="l" defTabSz="914400" rtl="0" eaLnBrk="1" latinLnBrk="0" hangingPunct="1">
              <a:spcBef>
                <a:spcPts val="5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47675" indent="-268288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7063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3. HUAT (</a:t>
            </a:r>
            <a:r>
              <a:rPr lang="de-DE" dirty="0" err="1"/>
              <a:t>Mosonmagyarovar</a:t>
            </a:r>
            <a:r>
              <a:rPr lang="de-DE" dirty="0"/>
              <a:t>)  </a:t>
            </a:r>
            <a:r>
              <a:rPr lang="de-DE" dirty="0" err="1"/>
              <a:t>status</a:t>
            </a:r>
            <a:r>
              <a:rPr lang="de-DE" dirty="0"/>
              <a:t> on 06 June 2018</a:t>
            </a:r>
          </a:p>
        </p:txBody>
      </p:sp>
      <p:sp>
        <p:nvSpPr>
          <p:cNvPr id="14" name="Inhaltsplatzhalter 5"/>
          <p:cNvSpPr txBox="1">
            <a:spLocks/>
          </p:cNvSpPr>
          <p:nvPr/>
        </p:nvSpPr>
        <p:spPr>
          <a:xfrm>
            <a:off x="3455876" y="3396776"/>
            <a:ext cx="5364274" cy="374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Arial" pitchFamily="34" charset="0"/>
              </a:defRPr>
            </a:lvl1pPr>
            <a:lvl2pPr marL="179388" indent="-179388" algn="l" defTabSz="914400" rtl="0" eaLnBrk="1" latinLnBrk="0" hangingPunct="1">
              <a:spcBef>
                <a:spcPts val="5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47675" indent="-268288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7063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4. HUSKAT  </a:t>
            </a:r>
            <a:r>
              <a:rPr lang="de-DE" dirty="0" err="1"/>
              <a:t>status</a:t>
            </a:r>
            <a:r>
              <a:rPr lang="de-DE" dirty="0"/>
              <a:t> on 06 June 2018</a:t>
            </a:r>
          </a:p>
        </p:txBody>
      </p:sp>
      <p:sp>
        <p:nvSpPr>
          <p:cNvPr id="15" name="Inhaltsplatzhalter 5"/>
          <p:cNvSpPr txBox="1">
            <a:spLocks/>
          </p:cNvSpPr>
          <p:nvPr/>
        </p:nvSpPr>
        <p:spPr>
          <a:xfrm>
            <a:off x="3455876" y="4094949"/>
            <a:ext cx="5364274" cy="374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Arial" pitchFamily="34" charset="0"/>
              </a:defRPr>
            </a:lvl1pPr>
            <a:lvl2pPr marL="179388" indent="-179388" algn="l" defTabSz="914400" rtl="0" eaLnBrk="1" latinLnBrk="0" hangingPunct="1">
              <a:spcBef>
                <a:spcPts val="5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47675" indent="-268288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7063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5. </a:t>
            </a:r>
            <a:r>
              <a:rPr lang="de-DE" dirty="0" err="1"/>
              <a:t>Conclus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7999529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6" name="Rechteck: obere Ecken abgerundet 5"/>
          <p:cNvSpPr/>
          <p:nvPr/>
        </p:nvSpPr>
        <p:spPr>
          <a:xfrm rot="16200000">
            <a:off x="5901552" y="-801587"/>
            <a:ext cx="540000" cy="5976937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b="1" dirty="0">
              <a:solidFill>
                <a:schemeClr val="accent1"/>
              </a:solidFill>
            </a:endParaRPr>
          </a:p>
        </p:txBody>
      </p:sp>
      <p:sp>
        <p:nvSpPr>
          <p:cNvPr id="7" name="Rechteck: obere Ecken abgerundet 6"/>
          <p:cNvSpPr/>
          <p:nvPr/>
        </p:nvSpPr>
        <p:spPr>
          <a:xfrm rot="16200000">
            <a:off x="5901554" y="-132641"/>
            <a:ext cx="540000" cy="5976937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b="1" u="none" dirty="0">
              <a:solidFill>
                <a:schemeClr val="bg1"/>
              </a:solidFill>
            </a:endParaRPr>
          </a:p>
        </p:txBody>
      </p:sp>
      <p:sp>
        <p:nvSpPr>
          <p:cNvPr id="8" name="Rechteck: obere Ecken abgerundet 7"/>
          <p:cNvSpPr/>
          <p:nvPr/>
        </p:nvSpPr>
        <p:spPr>
          <a:xfrm rot="16200000">
            <a:off x="5901553" y="-1499185"/>
            <a:ext cx="540000" cy="5976937"/>
          </a:xfrm>
          <a:prstGeom prst="round2SameRect">
            <a:avLst>
              <a:gd name="adj1" fmla="val 17861"/>
              <a:gd name="adj2" fmla="val 0"/>
            </a:avLst>
          </a:prstGeom>
          <a:solidFill>
            <a:schemeClr val="bg1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216000" rIns="0" rtlCol="0" anchor="ctr"/>
          <a:lstStyle/>
          <a:p>
            <a:endParaRPr lang="de-DE" b="1" dirty="0">
              <a:solidFill>
                <a:schemeClr val="accent1"/>
              </a:solidFill>
            </a:endParaRPr>
          </a:p>
        </p:txBody>
      </p:sp>
      <p:sp>
        <p:nvSpPr>
          <p:cNvPr id="9" name="Rechteck: obere Ecken abgerundet 8"/>
          <p:cNvSpPr/>
          <p:nvPr/>
        </p:nvSpPr>
        <p:spPr>
          <a:xfrm rot="16200000">
            <a:off x="5901553" y="595328"/>
            <a:ext cx="540000" cy="5976937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b="1" dirty="0">
              <a:solidFill>
                <a:srgbClr val="0066A9"/>
              </a:solidFill>
            </a:endParaRPr>
          </a:p>
        </p:txBody>
      </p:sp>
      <p:sp>
        <p:nvSpPr>
          <p:cNvPr id="10" name="Rechteck: obere Ecken abgerundet 9"/>
          <p:cNvSpPr/>
          <p:nvPr/>
        </p:nvSpPr>
        <p:spPr>
          <a:xfrm rot="16200000">
            <a:off x="5901553" y="1293501"/>
            <a:ext cx="540000" cy="5976937"/>
          </a:xfrm>
          <a:prstGeom prst="round2SameRect">
            <a:avLst>
              <a:gd name="adj1" fmla="val 17861"/>
              <a:gd name="adj2" fmla="val 0"/>
            </a:avLst>
          </a:prstGeom>
          <a:solidFill>
            <a:srgbClr val="0066A9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b="1" dirty="0">
              <a:solidFill>
                <a:schemeClr val="bg1"/>
              </a:solidFill>
            </a:endParaRPr>
          </a:p>
        </p:txBody>
      </p:sp>
      <p:sp>
        <p:nvSpPr>
          <p:cNvPr id="11" name="Inhaltsplatzhalter 5"/>
          <p:cNvSpPr txBox="1">
            <a:spLocks/>
          </p:cNvSpPr>
          <p:nvPr/>
        </p:nvSpPr>
        <p:spPr>
          <a:xfrm>
            <a:off x="3455876" y="1302263"/>
            <a:ext cx="5364274" cy="374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800" b="1" kern="1200">
                <a:solidFill>
                  <a:schemeClr val="bg1"/>
                </a:solidFill>
                <a:latin typeface="+mj-lt"/>
                <a:ea typeface="+mn-ea"/>
                <a:cs typeface="Arial" pitchFamily="34" charset="0"/>
              </a:defRPr>
            </a:lvl1pPr>
            <a:lvl2pPr marL="179388" indent="-179388" algn="l" defTabSz="914400" rtl="0" eaLnBrk="1" latinLnBrk="0" hangingPunct="1">
              <a:spcBef>
                <a:spcPts val="5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47675" indent="-268288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7063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0" dirty="0">
                <a:solidFill>
                  <a:schemeClr val="accent1"/>
                </a:solidFill>
              </a:rPr>
              <a:t>1. </a:t>
            </a:r>
            <a:r>
              <a:rPr lang="de-DE" b="0" dirty="0">
                <a:solidFill>
                  <a:srgbClr val="0066A9"/>
                </a:solidFill>
              </a:rPr>
              <a:t>ROHUAT </a:t>
            </a:r>
            <a:r>
              <a:rPr lang="de-DE" b="0" dirty="0" err="1">
                <a:solidFill>
                  <a:srgbClr val="0066A9"/>
                </a:solidFill>
              </a:rPr>
              <a:t>status</a:t>
            </a:r>
            <a:r>
              <a:rPr lang="de-DE" b="0" dirty="0">
                <a:solidFill>
                  <a:srgbClr val="0066A9"/>
                </a:solidFill>
              </a:rPr>
              <a:t> on 27 April 2017</a:t>
            </a:r>
            <a:endParaRPr lang="de-DE" b="0" dirty="0">
              <a:solidFill>
                <a:schemeClr val="accent1"/>
              </a:solidFill>
            </a:endParaRPr>
          </a:p>
        </p:txBody>
      </p:sp>
      <p:sp>
        <p:nvSpPr>
          <p:cNvPr id="12" name="Inhaltsplatzhalter 5"/>
          <p:cNvSpPr txBox="1">
            <a:spLocks/>
          </p:cNvSpPr>
          <p:nvPr/>
        </p:nvSpPr>
        <p:spPr>
          <a:xfrm>
            <a:off x="3455876" y="2000434"/>
            <a:ext cx="5364274" cy="374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800" b="0" kern="1200" baseline="0">
                <a:solidFill>
                  <a:schemeClr val="accent1"/>
                </a:solidFill>
                <a:latin typeface="+mj-lt"/>
                <a:ea typeface="+mn-ea"/>
                <a:cs typeface="Arial" pitchFamily="34" charset="0"/>
              </a:defRPr>
            </a:lvl1pPr>
            <a:lvl2pPr marL="179388" indent="-179388" algn="l" defTabSz="914400" rtl="0" eaLnBrk="1" latinLnBrk="0" hangingPunct="1">
              <a:spcBef>
                <a:spcPts val="5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47675" indent="-268288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7063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rgbClr val="0066A9"/>
                </a:solidFill>
              </a:rPr>
              <a:t>2. ROHU     </a:t>
            </a:r>
            <a:r>
              <a:rPr lang="de-DE" dirty="0" err="1">
                <a:solidFill>
                  <a:srgbClr val="0066A9"/>
                </a:solidFill>
              </a:rPr>
              <a:t>status</a:t>
            </a:r>
            <a:r>
              <a:rPr lang="de-DE" dirty="0">
                <a:solidFill>
                  <a:srgbClr val="0066A9"/>
                </a:solidFill>
              </a:rPr>
              <a:t> on 12 </a:t>
            </a:r>
            <a:r>
              <a:rPr lang="de-DE" dirty="0" err="1">
                <a:solidFill>
                  <a:srgbClr val="0066A9"/>
                </a:solidFill>
              </a:rPr>
              <a:t>October</a:t>
            </a:r>
            <a:r>
              <a:rPr lang="de-DE" dirty="0">
                <a:solidFill>
                  <a:srgbClr val="0066A9"/>
                </a:solidFill>
              </a:rPr>
              <a:t> 2017 </a:t>
            </a:r>
            <a:r>
              <a:rPr lang="de-DE" b="1" dirty="0">
                <a:solidFill>
                  <a:schemeClr val="bg1"/>
                </a:solidFill>
              </a:rPr>
              <a:t>Musterabschnitt</a:t>
            </a:r>
          </a:p>
        </p:txBody>
      </p:sp>
      <p:sp>
        <p:nvSpPr>
          <p:cNvPr id="13" name="Inhaltsplatzhalter 5"/>
          <p:cNvSpPr txBox="1">
            <a:spLocks/>
          </p:cNvSpPr>
          <p:nvPr/>
        </p:nvSpPr>
        <p:spPr>
          <a:xfrm>
            <a:off x="3455876" y="2698605"/>
            <a:ext cx="5364274" cy="374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Arial" pitchFamily="34" charset="0"/>
              </a:defRPr>
            </a:lvl1pPr>
            <a:lvl2pPr marL="179388" indent="-179388" algn="l" defTabSz="914400" rtl="0" eaLnBrk="1" latinLnBrk="0" hangingPunct="1">
              <a:spcBef>
                <a:spcPts val="5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47675" indent="-268288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7063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rgbClr val="0066A9"/>
                </a:solidFill>
              </a:rPr>
              <a:t>3. HUAT (</a:t>
            </a:r>
            <a:r>
              <a:rPr lang="de-DE" dirty="0" err="1">
                <a:solidFill>
                  <a:srgbClr val="0066A9"/>
                </a:solidFill>
              </a:rPr>
              <a:t>Mosonmagyarovar</a:t>
            </a:r>
            <a:r>
              <a:rPr lang="de-DE" dirty="0">
                <a:solidFill>
                  <a:srgbClr val="0066A9"/>
                </a:solidFill>
              </a:rPr>
              <a:t>)  </a:t>
            </a:r>
            <a:r>
              <a:rPr lang="de-DE" dirty="0" err="1">
                <a:solidFill>
                  <a:srgbClr val="0066A9"/>
                </a:solidFill>
              </a:rPr>
              <a:t>status</a:t>
            </a:r>
            <a:r>
              <a:rPr lang="de-DE" dirty="0">
                <a:solidFill>
                  <a:srgbClr val="0066A9"/>
                </a:solidFill>
              </a:rPr>
              <a:t>  on 06 June 2018 </a:t>
            </a:r>
          </a:p>
        </p:txBody>
      </p:sp>
      <p:sp>
        <p:nvSpPr>
          <p:cNvPr id="14" name="Inhaltsplatzhalter 5"/>
          <p:cNvSpPr txBox="1">
            <a:spLocks/>
          </p:cNvSpPr>
          <p:nvPr/>
        </p:nvSpPr>
        <p:spPr>
          <a:xfrm>
            <a:off x="3455876" y="3396776"/>
            <a:ext cx="5364274" cy="374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Arial" pitchFamily="34" charset="0"/>
              </a:defRPr>
            </a:lvl1pPr>
            <a:lvl2pPr marL="179388" indent="-179388" algn="l" defTabSz="914400" rtl="0" eaLnBrk="1" latinLnBrk="0" hangingPunct="1">
              <a:spcBef>
                <a:spcPts val="5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47675" indent="-268288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7063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rgbClr val="0066A9"/>
                </a:solidFill>
              </a:rPr>
              <a:t>4. HUSKAT  </a:t>
            </a:r>
            <a:r>
              <a:rPr lang="de-DE" dirty="0" err="1">
                <a:solidFill>
                  <a:srgbClr val="0066A9"/>
                </a:solidFill>
              </a:rPr>
              <a:t>status</a:t>
            </a:r>
            <a:r>
              <a:rPr lang="de-DE" dirty="0">
                <a:solidFill>
                  <a:srgbClr val="0066A9"/>
                </a:solidFill>
              </a:rPr>
              <a:t> on 06 June 2018</a:t>
            </a:r>
          </a:p>
        </p:txBody>
      </p:sp>
      <p:sp>
        <p:nvSpPr>
          <p:cNvPr id="15" name="Inhaltsplatzhalter 5"/>
          <p:cNvSpPr txBox="1">
            <a:spLocks/>
          </p:cNvSpPr>
          <p:nvPr/>
        </p:nvSpPr>
        <p:spPr>
          <a:xfrm>
            <a:off x="3455876" y="4094949"/>
            <a:ext cx="5364274" cy="374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Arial" pitchFamily="34" charset="0"/>
              </a:defRPr>
            </a:lvl1pPr>
            <a:lvl2pPr marL="179388" indent="-179388" algn="l" defTabSz="914400" rtl="0" eaLnBrk="1" latinLnBrk="0" hangingPunct="1">
              <a:spcBef>
                <a:spcPts val="5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47675" indent="-268288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7063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bg1"/>
                </a:solidFill>
              </a:rPr>
              <a:t>5. </a:t>
            </a:r>
            <a:r>
              <a:rPr lang="de-DE" dirty="0" err="1">
                <a:solidFill>
                  <a:schemeClr val="bg1"/>
                </a:solidFill>
              </a:rPr>
              <a:t>Conclusion</a:t>
            </a:r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099838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358EA09-EBA1-4240-A47F-EA0CCEA39F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otal investment costs 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0BD4889-F551-4BDD-B031-911AAF9E3810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AC58FE9-25A8-4A00-AFDF-F95CCA0CA01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21</a:t>
            </a:fld>
            <a:endParaRPr lang="de-DE" dirty="0"/>
          </a:p>
        </p:txBody>
      </p:sp>
      <p:graphicFrame>
        <p:nvGraphicFramePr>
          <p:cNvPr id="13" name="Inhaltsplatzhalter 12">
            <a:extLst>
              <a:ext uri="{FF2B5EF4-FFF2-40B4-BE49-F238E27FC236}">
                <a16:creationId xmlns:a16="http://schemas.microsoft.com/office/drawing/2014/main" id="{9D27E0E1-577D-4573-A68D-6B8E2D9E157A}"/>
              </a:ext>
            </a:extLst>
          </p:cNvPr>
          <p:cNvGraphicFramePr>
            <a:graphicFrameLocks noGrp="1"/>
          </p:cNvGraphicFramePr>
          <p:nvPr>
            <p:ph sz="quarter" idx="10"/>
          </p:nvPr>
        </p:nvGraphicFramePr>
        <p:xfrm>
          <a:off x="323850" y="1058863"/>
          <a:ext cx="8496300" cy="3636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0231010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3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3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3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3" grpId="0" uiExpand="1">
        <p:bldSub>
          <a:bldChart bld="category"/>
        </p:bldSub>
      </p:bldGraphic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85C178B-3072-4205-BE57-72B008A72D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Total </a:t>
            </a:r>
            <a:r>
              <a:rPr lang="de-AT" dirty="0" err="1"/>
              <a:t>transportation</a:t>
            </a:r>
            <a:r>
              <a:rPr lang="de-AT" dirty="0"/>
              <a:t> </a:t>
            </a:r>
            <a:r>
              <a:rPr lang="de-AT" dirty="0" err="1"/>
              <a:t>costs</a:t>
            </a:r>
            <a:r>
              <a:rPr lang="de-AT" dirty="0"/>
              <a:t> 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C83CD0E-6797-4EC5-B2C7-CD30A5428AC7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3C00525-6BC9-4C44-9561-A51315FB4FA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22</a:t>
            </a:fld>
            <a:endParaRPr lang="de-DE" dirty="0"/>
          </a:p>
        </p:txBody>
      </p:sp>
      <p:graphicFrame>
        <p:nvGraphicFramePr>
          <p:cNvPr id="8" name="Inhaltsplatzhalter 7">
            <a:extLst>
              <a:ext uri="{FF2B5EF4-FFF2-40B4-BE49-F238E27FC236}">
                <a16:creationId xmlns:a16="http://schemas.microsoft.com/office/drawing/2014/main" id="{8A260110-C8D7-40CC-9A62-0C8B95358DBF}"/>
              </a:ext>
            </a:extLst>
          </p:cNvPr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4219347667"/>
              </p:ext>
            </p:extLst>
          </p:nvPr>
        </p:nvGraphicFramePr>
        <p:xfrm>
          <a:off x="323850" y="1058863"/>
          <a:ext cx="8496300" cy="3636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5128564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8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8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8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8" grpId="0" uiExpand="1">
        <p:bldSub>
          <a:bldChart bld="category"/>
        </p:bldSub>
      </p:bldGraphic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7351CD6-4301-46A7-B0C5-604F7127BD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tus of the projects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D7F887C-5CED-4235-B979-675585954D2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23847" y="1058863"/>
            <a:ext cx="8496303" cy="3890301"/>
          </a:xfrm>
        </p:spPr>
        <p:txBody>
          <a:bodyPr>
            <a:normAutofit fontScale="925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dirty="0"/>
              <a:t>ROHUAT: abandoned by Hungarian side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dirty="0"/>
              <a:t>ROHU: "successor" for parts of ROHUAT; first bidding round with oversubscription; currently phase with shipper right to step back from contrac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dirty="0"/>
              <a:t>HUAT: positive decision on Austrian side, no decision on the Hungarian side yet, but negative opinion. Incremental auction will not be carried ou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dirty="0"/>
              <a:t>HUSKAT: market consultation of the Rulebook of TSOs ongoing, comments by 25 June 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CB338E0-2C48-4046-8776-9AA00C404964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9C53FFD-41AD-4143-AB38-28775DCC93B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605305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3B834B-FD79-468A-9DF1-A2266FBB67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nk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B95252E-4A87-4ADA-97A1-DB35919F9C1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DE" b="1" dirty="0">
                <a:hlinkClick r:id="rId3"/>
              </a:rPr>
              <a:t>HUSKAT:</a:t>
            </a:r>
          </a:p>
          <a:p>
            <a:r>
              <a:rPr lang="de-DE" dirty="0">
                <a:hlinkClick r:id="rId3"/>
              </a:rPr>
              <a:t>https://www.gasconnect.at/netzzugang/fernleitungsnetz/kapazitaetsprojekte/hu-sk-at-korridor/</a:t>
            </a:r>
          </a:p>
          <a:p>
            <a:r>
              <a:rPr lang="de-DE" dirty="0">
                <a:hlinkClick r:id="rId4"/>
              </a:rPr>
              <a:t>http://www.eustream.sk/en_media/en_news/consultation-binding-alternative-allocation-procedure-for-the-hu-sk-at-route</a:t>
            </a:r>
          </a:p>
          <a:p>
            <a:r>
              <a:rPr lang="de-DE" dirty="0">
                <a:hlinkClick r:id="rId5"/>
              </a:rPr>
              <a:t>http://www.gaztranzit.hu/en/Lapok/default.aspx</a:t>
            </a:r>
            <a:endParaRPr lang="de-DE" dirty="0"/>
          </a:p>
          <a:p>
            <a:endParaRPr lang="de-DE" b="1" dirty="0">
              <a:hlinkClick r:id="rId5"/>
            </a:endParaRPr>
          </a:p>
          <a:p>
            <a:r>
              <a:rPr lang="de-DE" b="1" dirty="0">
                <a:hlinkClick r:id="rId5"/>
              </a:rPr>
              <a:t>ROHU:</a:t>
            </a:r>
          </a:p>
          <a:p>
            <a:r>
              <a:rPr lang="de-DE" u="sng" dirty="0">
                <a:solidFill>
                  <a:srgbClr val="0066A9"/>
                </a:solidFill>
                <a:hlinkClick r:id="rId6"/>
              </a:rPr>
              <a:t>https://fgsz.hu/en-gb/partnereinknek/kapacitaskereskedelmi-informaciok/open-season</a:t>
            </a:r>
            <a:endParaRPr lang="de-DE" u="sng" dirty="0">
              <a:solidFill>
                <a:srgbClr val="0066A9"/>
              </a:solidFill>
            </a:endParaRPr>
          </a:p>
          <a:p>
            <a:endParaRPr lang="de-DE" b="1" u="sng" dirty="0">
              <a:solidFill>
                <a:srgbClr val="0066A9"/>
              </a:solidFill>
            </a:endParaRPr>
          </a:p>
          <a:p>
            <a:r>
              <a:rPr lang="de-DE" b="1" u="sng" dirty="0">
                <a:solidFill>
                  <a:srgbClr val="0066A9"/>
                </a:solidFill>
              </a:rPr>
              <a:t>HUAT: </a:t>
            </a:r>
          </a:p>
          <a:p>
            <a:r>
              <a:rPr lang="de-DE" dirty="0">
                <a:hlinkClick r:id="rId7"/>
              </a:rPr>
              <a:t>https://www.gasconnect.at/en/network-information/network-development/network-development-plan/</a:t>
            </a:r>
            <a:endParaRPr lang="de-DE" dirty="0"/>
          </a:p>
          <a:p>
            <a:r>
              <a:rPr lang="de-DE" u="sng" dirty="0">
                <a:solidFill>
                  <a:srgbClr val="0066A9"/>
                </a:solidFill>
              </a:rPr>
              <a:t>https://fgsz.hu/en-gb/Documents/Incremental_project_proposal_Mosonmagyarovar_FGSZ.pdf</a:t>
            </a:r>
          </a:p>
          <a:p>
            <a:endParaRPr lang="de-DE" b="1" u="sng" dirty="0">
              <a:solidFill>
                <a:srgbClr val="0066A9"/>
              </a:solidFill>
            </a:endParaRPr>
          </a:p>
          <a:p>
            <a:r>
              <a:rPr lang="de-DE" b="1" u="sng" dirty="0">
                <a:solidFill>
                  <a:srgbClr val="0066A9"/>
                </a:solidFill>
              </a:rPr>
              <a:t>ROHUAT: </a:t>
            </a:r>
          </a:p>
          <a:p>
            <a:r>
              <a:rPr lang="de-DE" dirty="0">
                <a:hlinkClick r:id="rId8"/>
              </a:rPr>
              <a:t>https://www.gasconnect.at/netzzugang/fernleitungsnetz/kapazitaetsprojekte/gca-mosonmagyarovar/</a:t>
            </a:r>
            <a:r>
              <a:rPr lang="de-DE" u="sng" dirty="0">
                <a:solidFill>
                  <a:srgbClr val="0066A9"/>
                </a:solidFill>
              </a:rPr>
              <a:t> 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C5E2651-099F-4589-9D25-D4C6D33DF89A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4A54B09-26AB-43A1-A58E-B3EF2C0A5B6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1079367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F7B6F1-3584-447F-A237-59C80B7365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sclaimer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B8D9ED3-7382-4441-8102-C8B8237DB800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pPr algn="ctr"/>
            <a:endParaRPr lang="en-US" sz="2800" dirty="0"/>
          </a:p>
          <a:p>
            <a:pPr algn="ctr"/>
            <a:endParaRPr lang="en-US" sz="2800" dirty="0"/>
          </a:p>
          <a:p>
            <a:pPr algn="ctr"/>
            <a:r>
              <a:rPr lang="en-US" sz="2800"/>
              <a:t>Potential </a:t>
            </a:r>
            <a:r>
              <a:rPr lang="en-US" sz="2800" dirty="0"/>
              <a:t>errors in reporting and aggregating data from official documents are made in absolute good faith.</a:t>
            </a:r>
          </a:p>
          <a:p>
            <a:pPr algn="ctr"/>
            <a:r>
              <a:rPr lang="en-US" sz="2800" dirty="0"/>
              <a:t>Stakeholders are invited to report potential errors to E-Control</a:t>
            </a:r>
            <a:endParaRPr lang="en-GB" sz="2800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F977074-53CF-419A-90BF-B085850DE871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9B42760-C5F8-43C7-B42F-C2947FA7CC9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437030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Alessandro Ischia 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de-DE" dirty="0"/>
              <a:t>810</a:t>
            </a:r>
          </a:p>
        </p:txBody>
      </p:sp>
      <p:sp>
        <p:nvSpPr>
          <p:cNvPr id="13" name="Inhaltsplatzhalter 12"/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r>
              <a:rPr lang="de-DE" dirty="0"/>
              <a:t>alessandro.ischia@e-control.at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26</a:t>
            </a:fld>
            <a:endParaRPr lang="de-DE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647848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1531144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306273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7D32BBA-4917-4DBC-BAB5-178C5A3E6D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otal investment costs 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552BA63-D702-4FF7-9A92-A0529E9049A8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r>
              <a:rPr lang="de-DE" dirty="0"/>
              <a:t>50% </a:t>
            </a:r>
            <a:r>
              <a:rPr lang="de-DE" dirty="0" err="1"/>
              <a:t>booking</a:t>
            </a:r>
            <a:r>
              <a:rPr lang="de-DE" dirty="0"/>
              <a:t> rate and 100% </a:t>
            </a:r>
            <a:r>
              <a:rPr lang="de-DE" dirty="0" err="1"/>
              <a:t>nomination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5747589-EB9B-4E02-9DA0-1E627381B1D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29</a:t>
            </a:fld>
            <a:endParaRPr lang="de-DE" dirty="0"/>
          </a:p>
        </p:txBody>
      </p:sp>
      <p:graphicFrame>
        <p:nvGraphicFramePr>
          <p:cNvPr id="8" name="Inhaltsplatzhalter 7">
            <a:extLst>
              <a:ext uri="{FF2B5EF4-FFF2-40B4-BE49-F238E27FC236}">
                <a16:creationId xmlns:a16="http://schemas.microsoft.com/office/drawing/2014/main" id="{DD6E26EB-55A6-4C4E-B8B3-183144FE47B4}"/>
              </a:ext>
            </a:extLst>
          </p:cNvPr>
          <p:cNvGraphicFramePr>
            <a:graphicFrameLocks noGrp="1"/>
          </p:cNvGraphicFramePr>
          <p:nvPr>
            <p:ph sz="quarter" idx="10"/>
          </p:nvPr>
        </p:nvGraphicFramePr>
        <p:xfrm>
          <a:off x="323850" y="1058863"/>
          <a:ext cx="8496300" cy="3636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369845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8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2" dur="500"/>
                                        <p:tgtEl>
                                          <p:spTgt spid="8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7" dur="500"/>
                                        <p:tgtEl>
                                          <p:spTgt spid="8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2" dur="500"/>
                                        <p:tgtEl>
                                          <p:spTgt spid="8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8" grpId="0">
        <p:bldSub>
          <a:bldChart bld="category"/>
        </p:bldSub>
      </p:bldGraphic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3CC5417-AA41-4755-93C7-C933ADA8C5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SOs: </a:t>
            </a:r>
            <a:r>
              <a:rPr lang="de-DE" dirty="0" err="1"/>
              <a:t>new</a:t>
            </a:r>
            <a:r>
              <a:rPr lang="de-DE" dirty="0"/>
              <a:t> gas route - ROHUA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448CEE-0A2D-4BC6-970C-8BCA6977B838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00FC996-FF83-47FA-923D-C45F23D2D2E7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r>
              <a:rPr lang="de-DE" dirty="0"/>
              <a:t>Development </a:t>
            </a:r>
            <a:r>
              <a:rPr lang="de-DE" dirty="0" err="1"/>
              <a:t>from</a:t>
            </a:r>
            <a:r>
              <a:rPr lang="de-DE" dirty="0"/>
              <a:t> 2014  </a:t>
            </a:r>
            <a:r>
              <a:rPr lang="de-DE" dirty="0" err="1"/>
              <a:t>till</a:t>
            </a:r>
            <a:r>
              <a:rPr lang="de-DE" dirty="0"/>
              <a:t> 2017 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A34978C-2E2E-45CD-9E9B-B37DE0442725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52D47D5-DE8B-410C-BB29-0787B6CFA63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5C1FDED-3D32-4C93-BE85-B5C31A5B08A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9" name="Foliennummernplatzhalter 3">
            <a:extLst>
              <a:ext uri="{FF2B5EF4-FFF2-40B4-BE49-F238E27FC236}">
                <a16:creationId xmlns:a16="http://schemas.microsoft.com/office/drawing/2014/main" id="{79F19245-C4E2-4B4D-9952-22D0A8EA4621}"/>
              </a:ext>
            </a:extLst>
          </p:cNvPr>
          <p:cNvSpPr txBox="1">
            <a:spLocks/>
          </p:cNvSpPr>
          <p:nvPr/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600" i="1" kern="1200" baseline="0">
                <a:solidFill>
                  <a:schemeClr val="bg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1pPr>
            <a:lvl2pPr marL="268288" indent="-268288" algn="l" defTabSz="914400" rtl="0" eaLnBrk="1" latinLnBrk="0" hangingPunct="1">
              <a:spcBef>
                <a:spcPts val="500"/>
              </a:spcBef>
              <a:buClr>
                <a:srgbClr val="0066A9"/>
              </a:buClr>
              <a:buFont typeface="Arial" panose="020B0604020202020204" pitchFamily="34" charset="0"/>
              <a:buChar char="&gt;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2pPr>
            <a:lvl3pPr marL="536575" indent="-268288" algn="l" defTabSz="914400" rtl="0" eaLnBrk="1" latinLnBrk="0" hangingPunct="1">
              <a:spcBef>
                <a:spcPts val="400"/>
              </a:spcBef>
              <a:buClr>
                <a:srgbClr val="0066A9"/>
              </a:buClr>
              <a:buFont typeface="Wingdings" panose="05000000000000000000" pitchFamily="2" charset="2"/>
              <a:buChar char="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3pPr>
            <a:lvl4pPr marL="720725" indent="-273050" algn="l" defTabSz="914400" rtl="0" eaLnBrk="1" latinLnBrk="0" hangingPunct="1">
              <a:spcBef>
                <a:spcPts val="4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38FDFA3-F5B0-4BC3-9E09-D644D952F017}" type="slidenum">
              <a:rPr lang="de-DE" altLang="de-DE" smtClean="0"/>
              <a:pPr/>
              <a:t>3</a:t>
            </a:fld>
            <a:endParaRPr lang="de-DE" altLang="de-DE"/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AACBD221-8F35-40EA-892E-0DD7191792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87574"/>
            <a:ext cx="9136993" cy="51411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3">
            <a:extLst>
              <a:ext uri="{FF2B5EF4-FFF2-40B4-BE49-F238E27FC236}">
                <a16:creationId xmlns:a16="http://schemas.microsoft.com/office/drawing/2014/main" id="{64B97109-EFA6-4299-86D8-D80A4EAF9A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3928" y="3660509"/>
            <a:ext cx="851917" cy="27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4">
            <a:extLst>
              <a:ext uri="{FF2B5EF4-FFF2-40B4-BE49-F238E27FC236}">
                <a16:creationId xmlns:a16="http://schemas.microsoft.com/office/drawing/2014/main" id="{D112111D-9A92-4BC8-9A3B-86FD91D334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1885" y="2187022"/>
            <a:ext cx="672635" cy="2160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Gerade Verbindung 18">
            <a:extLst>
              <a:ext uri="{FF2B5EF4-FFF2-40B4-BE49-F238E27FC236}">
                <a16:creationId xmlns:a16="http://schemas.microsoft.com/office/drawing/2014/main" id="{E2A39711-2AA0-43E1-A7C9-214A85A30757}"/>
              </a:ext>
            </a:extLst>
          </p:cNvPr>
          <p:cNvCxnSpPr/>
          <p:nvPr/>
        </p:nvCxnSpPr>
        <p:spPr>
          <a:xfrm>
            <a:off x="2841855" y="1960762"/>
            <a:ext cx="101494" cy="452521"/>
          </a:xfrm>
          <a:prstGeom prst="line">
            <a:avLst/>
          </a:prstGeom>
          <a:ln w="3810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9">
            <a:extLst>
              <a:ext uri="{FF2B5EF4-FFF2-40B4-BE49-F238E27FC236}">
                <a16:creationId xmlns:a16="http://schemas.microsoft.com/office/drawing/2014/main" id="{ADA0C1F9-F607-4307-9EDE-A2866C4B4F4A}"/>
              </a:ext>
            </a:extLst>
          </p:cNvPr>
          <p:cNvCxnSpPr/>
          <p:nvPr/>
        </p:nvCxnSpPr>
        <p:spPr>
          <a:xfrm>
            <a:off x="2920798" y="2376052"/>
            <a:ext cx="648072" cy="495672"/>
          </a:xfrm>
          <a:prstGeom prst="line">
            <a:avLst/>
          </a:prstGeom>
          <a:ln w="38100">
            <a:solidFill>
              <a:srgbClr val="00206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20">
            <a:extLst>
              <a:ext uri="{FF2B5EF4-FFF2-40B4-BE49-F238E27FC236}">
                <a16:creationId xmlns:a16="http://schemas.microsoft.com/office/drawing/2014/main" id="{C9576C18-CB8C-4689-84F6-E40860A8E1B0}"/>
              </a:ext>
            </a:extLst>
          </p:cNvPr>
          <p:cNvCxnSpPr/>
          <p:nvPr/>
        </p:nvCxnSpPr>
        <p:spPr>
          <a:xfrm>
            <a:off x="3531515" y="2831764"/>
            <a:ext cx="1356172" cy="853090"/>
          </a:xfrm>
          <a:prstGeom prst="line">
            <a:avLst/>
          </a:prstGeom>
          <a:ln w="38100">
            <a:solidFill>
              <a:srgbClr val="00206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21">
            <a:extLst>
              <a:ext uri="{FF2B5EF4-FFF2-40B4-BE49-F238E27FC236}">
                <a16:creationId xmlns:a16="http://schemas.microsoft.com/office/drawing/2014/main" id="{82C076BA-C116-4541-9E06-8A7D94B485C6}"/>
              </a:ext>
            </a:extLst>
          </p:cNvPr>
          <p:cNvCxnSpPr/>
          <p:nvPr/>
        </p:nvCxnSpPr>
        <p:spPr>
          <a:xfrm>
            <a:off x="4886609" y="3676278"/>
            <a:ext cx="324036" cy="69342"/>
          </a:xfrm>
          <a:prstGeom prst="line">
            <a:avLst/>
          </a:prstGeom>
          <a:ln w="38100">
            <a:solidFill>
              <a:srgbClr val="FFC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22">
            <a:extLst>
              <a:ext uri="{FF2B5EF4-FFF2-40B4-BE49-F238E27FC236}">
                <a16:creationId xmlns:a16="http://schemas.microsoft.com/office/drawing/2014/main" id="{DC276204-8F2B-4AEE-BED5-4C9478FA61D5}"/>
              </a:ext>
            </a:extLst>
          </p:cNvPr>
          <p:cNvCxnSpPr/>
          <p:nvPr/>
        </p:nvCxnSpPr>
        <p:spPr>
          <a:xfrm>
            <a:off x="5198480" y="3745620"/>
            <a:ext cx="76200" cy="288032"/>
          </a:xfrm>
          <a:prstGeom prst="line">
            <a:avLst/>
          </a:prstGeom>
          <a:ln w="38100">
            <a:solidFill>
              <a:srgbClr val="FFC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23">
            <a:extLst>
              <a:ext uri="{FF2B5EF4-FFF2-40B4-BE49-F238E27FC236}">
                <a16:creationId xmlns:a16="http://schemas.microsoft.com/office/drawing/2014/main" id="{520EC1D3-AD58-4BA4-AEF9-617DEA2211DD}"/>
              </a:ext>
            </a:extLst>
          </p:cNvPr>
          <p:cNvCxnSpPr/>
          <p:nvPr/>
        </p:nvCxnSpPr>
        <p:spPr>
          <a:xfrm>
            <a:off x="5282817" y="4026782"/>
            <a:ext cx="535868" cy="76200"/>
          </a:xfrm>
          <a:prstGeom prst="line">
            <a:avLst/>
          </a:prstGeom>
          <a:ln w="38100">
            <a:solidFill>
              <a:srgbClr val="FFC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24">
            <a:extLst>
              <a:ext uri="{FF2B5EF4-FFF2-40B4-BE49-F238E27FC236}">
                <a16:creationId xmlns:a16="http://schemas.microsoft.com/office/drawing/2014/main" id="{BBBCA964-F39B-4D9F-8776-581DBEB30BA4}"/>
              </a:ext>
            </a:extLst>
          </p:cNvPr>
          <p:cNvCxnSpPr/>
          <p:nvPr/>
        </p:nvCxnSpPr>
        <p:spPr>
          <a:xfrm>
            <a:off x="5841525" y="4172894"/>
            <a:ext cx="410944" cy="461605"/>
          </a:xfrm>
          <a:prstGeom prst="line">
            <a:avLst/>
          </a:prstGeom>
          <a:ln w="38100">
            <a:solidFill>
              <a:srgbClr val="FFC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25">
            <a:extLst>
              <a:ext uri="{FF2B5EF4-FFF2-40B4-BE49-F238E27FC236}">
                <a16:creationId xmlns:a16="http://schemas.microsoft.com/office/drawing/2014/main" id="{D4804F1D-A857-45CC-BD4D-DF82046512F5}"/>
              </a:ext>
            </a:extLst>
          </p:cNvPr>
          <p:cNvCxnSpPr/>
          <p:nvPr/>
        </p:nvCxnSpPr>
        <p:spPr>
          <a:xfrm>
            <a:off x="6252469" y="4612622"/>
            <a:ext cx="2436632" cy="241037"/>
          </a:xfrm>
          <a:prstGeom prst="line">
            <a:avLst/>
          </a:prstGeom>
          <a:ln w="38100">
            <a:solidFill>
              <a:srgbClr val="FFC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32">
            <a:extLst>
              <a:ext uri="{FF2B5EF4-FFF2-40B4-BE49-F238E27FC236}">
                <a16:creationId xmlns:a16="http://schemas.microsoft.com/office/drawing/2014/main" id="{CFBE36E8-265C-40D0-9D5E-CFD4A6F9443B}"/>
              </a:ext>
            </a:extLst>
          </p:cNvPr>
          <p:cNvCxnSpPr/>
          <p:nvPr/>
        </p:nvCxnSpPr>
        <p:spPr>
          <a:xfrm>
            <a:off x="4899418" y="3691976"/>
            <a:ext cx="324036" cy="69342"/>
          </a:xfrm>
          <a:prstGeom prst="line">
            <a:avLst/>
          </a:prstGeom>
          <a:ln w="38100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33">
            <a:extLst>
              <a:ext uri="{FF2B5EF4-FFF2-40B4-BE49-F238E27FC236}">
                <a16:creationId xmlns:a16="http://schemas.microsoft.com/office/drawing/2014/main" id="{13799D75-449A-4BF1-9F32-2EEE7705B957}"/>
              </a:ext>
            </a:extLst>
          </p:cNvPr>
          <p:cNvCxnSpPr/>
          <p:nvPr/>
        </p:nvCxnSpPr>
        <p:spPr>
          <a:xfrm>
            <a:off x="5198480" y="3775379"/>
            <a:ext cx="76200" cy="288032"/>
          </a:xfrm>
          <a:prstGeom prst="line">
            <a:avLst/>
          </a:prstGeom>
          <a:ln w="38100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34">
            <a:extLst>
              <a:ext uri="{FF2B5EF4-FFF2-40B4-BE49-F238E27FC236}">
                <a16:creationId xmlns:a16="http://schemas.microsoft.com/office/drawing/2014/main" id="{18402EE0-80DA-4E6C-8586-E5C3B9AD51DC}"/>
              </a:ext>
            </a:extLst>
          </p:cNvPr>
          <p:cNvCxnSpPr/>
          <p:nvPr/>
        </p:nvCxnSpPr>
        <p:spPr>
          <a:xfrm>
            <a:off x="5282817" y="4056541"/>
            <a:ext cx="535868" cy="76200"/>
          </a:xfrm>
          <a:prstGeom prst="line">
            <a:avLst/>
          </a:prstGeom>
          <a:ln w="38100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35">
            <a:extLst>
              <a:ext uri="{FF2B5EF4-FFF2-40B4-BE49-F238E27FC236}">
                <a16:creationId xmlns:a16="http://schemas.microsoft.com/office/drawing/2014/main" id="{CFA9C933-F9D5-4076-BFD9-201A218F1736}"/>
              </a:ext>
            </a:extLst>
          </p:cNvPr>
          <p:cNvCxnSpPr/>
          <p:nvPr/>
        </p:nvCxnSpPr>
        <p:spPr>
          <a:xfrm>
            <a:off x="5841525" y="4202653"/>
            <a:ext cx="410944" cy="461605"/>
          </a:xfrm>
          <a:prstGeom prst="line">
            <a:avLst/>
          </a:prstGeom>
          <a:ln w="38100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36">
            <a:extLst>
              <a:ext uri="{FF2B5EF4-FFF2-40B4-BE49-F238E27FC236}">
                <a16:creationId xmlns:a16="http://schemas.microsoft.com/office/drawing/2014/main" id="{E0DED515-E199-4E9B-A9F5-013332B83831}"/>
              </a:ext>
            </a:extLst>
          </p:cNvPr>
          <p:cNvCxnSpPr/>
          <p:nvPr/>
        </p:nvCxnSpPr>
        <p:spPr>
          <a:xfrm>
            <a:off x="6252469" y="4642381"/>
            <a:ext cx="2436632" cy="241037"/>
          </a:xfrm>
          <a:prstGeom prst="line">
            <a:avLst/>
          </a:prstGeom>
          <a:ln w="38100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Picture 6">
            <a:extLst>
              <a:ext uri="{FF2B5EF4-FFF2-40B4-BE49-F238E27FC236}">
                <a16:creationId xmlns:a16="http://schemas.microsoft.com/office/drawing/2014/main" id="{91B908CD-1D81-4C91-A60B-AC7A791897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476" y="1610761"/>
            <a:ext cx="2295525" cy="1152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" name="Picture 7">
            <a:extLst>
              <a:ext uri="{FF2B5EF4-FFF2-40B4-BE49-F238E27FC236}">
                <a16:creationId xmlns:a16="http://schemas.microsoft.com/office/drawing/2014/main" id="{9B1554B2-2A00-4C29-9A2A-B209149084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8184" y="2259177"/>
            <a:ext cx="2295525" cy="1724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" name="Picture 8">
            <a:extLst>
              <a:ext uri="{FF2B5EF4-FFF2-40B4-BE49-F238E27FC236}">
                <a16:creationId xmlns:a16="http://schemas.microsoft.com/office/drawing/2014/main" id="{148DBC30-A0E7-46B0-80C0-41C827169B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4334" y="3232550"/>
            <a:ext cx="2295525" cy="1152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590590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93649A4-3344-4109-A397-9F87765D2D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i="1" dirty="0"/>
              <a:t>Capacity products &amp; tariffs ROHUAT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63E135A-4847-4452-B07E-11AEAB36FD49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9037DFA-BECF-41B9-BE7E-43BD661B7C56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1DD92EC-1985-42F6-8984-9DE6CEBBF911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C43BC91-57AE-49D7-BAFA-6F5B5CC80EC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EE83381-3DEA-4579-A40C-382901FF09A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30</a:t>
            </a:fld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7B3A815-C4A8-480E-BAA3-B9CE03B210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5614" y="1203598"/>
            <a:ext cx="6912768" cy="5125534"/>
          </a:xfrm>
          <a:prstGeom prst="rect">
            <a:avLst/>
          </a:prstGeom>
        </p:spPr>
      </p:pic>
      <p:sp>
        <p:nvSpPr>
          <p:cNvPr id="10" name="Foliennummernplatzhalter 3">
            <a:extLst>
              <a:ext uri="{FF2B5EF4-FFF2-40B4-BE49-F238E27FC236}">
                <a16:creationId xmlns:a16="http://schemas.microsoft.com/office/drawing/2014/main" id="{F8648760-6A14-4C50-A16D-91098F3C5421}"/>
              </a:ext>
            </a:extLst>
          </p:cNvPr>
          <p:cNvSpPr txBox="1">
            <a:spLocks/>
          </p:cNvSpPr>
          <p:nvPr/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600" i="1" kern="1200" baseline="0">
                <a:solidFill>
                  <a:schemeClr val="bg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1pPr>
            <a:lvl2pPr marL="268288" indent="-268288" algn="l" defTabSz="914400" rtl="0" eaLnBrk="1" latinLnBrk="0" hangingPunct="1">
              <a:spcBef>
                <a:spcPts val="500"/>
              </a:spcBef>
              <a:buClr>
                <a:srgbClr val="0066A9"/>
              </a:buClr>
              <a:buFont typeface="Arial" panose="020B0604020202020204" pitchFamily="34" charset="0"/>
              <a:buChar char="&gt;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2pPr>
            <a:lvl3pPr marL="536575" indent="-268288" algn="l" defTabSz="914400" rtl="0" eaLnBrk="1" latinLnBrk="0" hangingPunct="1">
              <a:spcBef>
                <a:spcPts val="400"/>
              </a:spcBef>
              <a:buClr>
                <a:srgbClr val="0066A9"/>
              </a:buClr>
              <a:buFont typeface="Wingdings" panose="05000000000000000000" pitchFamily="2" charset="2"/>
              <a:buChar char="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3pPr>
            <a:lvl4pPr marL="720725" indent="-273050" algn="l" defTabSz="914400" rtl="0" eaLnBrk="1" latinLnBrk="0" hangingPunct="1">
              <a:spcBef>
                <a:spcPts val="4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38FDFA3-F5B0-4BC3-9E09-D644D952F017}" type="slidenum">
              <a:rPr lang="de-DE" altLang="de-DE" smtClean="0"/>
              <a:pPr/>
              <a:t>30</a:t>
            </a:fld>
            <a:endParaRPr lang="de-DE" altLang="de-DE"/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0E99EACA-8895-4509-BA73-7BD7EC5939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5415" y="975859"/>
            <a:ext cx="457058" cy="3069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2">
            <a:extLst>
              <a:ext uri="{FF2B5EF4-FFF2-40B4-BE49-F238E27FC236}">
                <a16:creationId xmlns:a16="http://schemas.microsoft.com/office/drawing/2014/main" id="{549D2A35-5F1C-4C5A-A7CB-631B7A85D2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1387" y="1021668"/>
            <a:ext cx="554679" cy="2784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4" descr="Bildergebnis für romania flag">
            <a:extLst>
              <a:ext uri="{FF2B5EF4-FFF2-40B4-BE49-F238E27FC236}">
                <a16:creationId xmlns:a16="http://schemas.microsoft.com/office/drawing/2014/main" id="{0CD8B255-5355-4669-AAF5-E9D00AD016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1880" y="1007418"/>
            <a:ext cx="460393" cy="3069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36703001-A14E-4930-BD1F-83B21472BEAC}"/>
              </a:ext>
            </a:extLst>
          </p:cNvPr>
          <p:cNvSpPr/>
          <p:nvPr/>
        </p:nvSpPr>
        <p:spPr>
          <a:xfrm>
            <a:off x="539552" y="3094722"/>
            <a:ext cx="7818040" cy="756765"/>
          </a:xfrm>
          <a:prstGeom prst="roundRect">
            <a:avLst/>
          </a:prstGeom>
          <a:noFill/>
          <a:ln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: abgerundete Ecken 14">
            <a:extLst>
              <a:ext uri="{FF2B5EF4-FFF2-40B4-BE49-F238E27FC236}">
                <a16:creationId xmlns:a16="http://schemas.microsoft.com/office/drawing/2014/main" id="{65C3F91E-D335-4806-991C-71180E6B92C9}"/>
              </a:ext>
            </a:extLst>
          </p:cNvPr>
          <p:cNvSpPr/>
          <p:nvPr/>
        </p:nvSpPr>
        <p:spPr>
          <a:xfrm>
            <a:off x="518964" y="4088373"/>
            <a:ext cx="7859216" cy="288449"/>
          </a:xfrm>
          <a:prstGeom prst="roundRect">
            <a:avLst/>
          </a:prstGeom>
          <a:noFill/>
          <a:ln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4653761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3ECE75-7B38-434C-8716-A844E52EED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i="1" dirty="0"/>
              <a:t>Capacity products &amp; tariffs ROHUAT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1BA54D7-B30C-4C8D-8CB7-A09DA9796AEF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E720453-6AD1-4CB5-9067-FD1A9F40A19D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09CCA1F-9A9A-4F57-A3CA-3F9C04967343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499EEF0-1F47-42E8-B500-E33D18D050C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137F009-3FAB-4EFE-973A-AD21EFA5E37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31</a:t>
            </a:fld>
            <a:endParaRPr lang="de-DE" dirty="0"/>
          </a:p>
        </p:txBody>
      </p:sp>
      <p:pic>
        <p:nvPicPr>
          <p:cNvPr id="8" name="Inhaltsplatzhalter 5">
            <a:extLst>
              <a:ext uri="{FF2B5EF4-FFF2-40B4-BE49-F238E27FC236}">
                <a16:creationId xmlns:a16="http://schemas.microsoft.com/office/drawing/2014/main" id="{59FA2CDA-B6AD-4645-BCE4-4D4901B43B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9420" y="1208181"/>
            <a:ext cx="6560927" cy="4760215"/>
          </a:xfrm>
          <a:prstGeom prst="rect">
            <a:avLst/>
          </a:prstGeom>
        </p:spPr>
      </p:pic>
      <p:sp>
        <p:nvSpPr>
          <p:cNvPr id="10" name="Foliennummernplatzhalter 3">
            <a:extLst>
              <a:ext uri="{FF2B5EF4-FFF2-40B4-BE49-F238E27FC236}">
                <a16:creationId xmlns:a16="http://schemas.microsoft.com/office/drawing/2014/main" id="{89547910-3148-4D11-A583-E98E23BE8D4D}"/>
              </a:ext>
            </a:extLst>
          </p:cNvPr>
          <p:cNvSpPr txBox="1">
            <a:spLocks/>
          </p:cNvSpPr>
          <p:nvPr/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600" i="1" kern="1200" baseline="0">
                <a:solidFill>
                  <a:schemeClr val="bg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1pPr>
            <a:lvl2pPr marL="268288" indent="-268288" algn="l" defTabSz="914400" rtl="0" eaLnBrk="1" latinLnBrk="0" hangingPunct="1">
              <a:spcBef>
                <a:spcPts val="500"/>
              </a:spcBef>
              <a:buClr>
                <a:srgbClr val="0066A9"/>
              </a:buClr>
              <a:buFont typeface="Arial" panose="020B0604020202020204" pitchFamily="34" charset="0"/>
              <a:buChar char="&gt;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2pPr>
            <a:lvl3pPr marL="536575" indent="-268288" algn="l" defTabSz="914400" rtl="0" eaLnBrk="1" latinLnBrk="0" hangingPunct="1">
              <a:spcBef>
                <a:spcPts val="400"/>
              </a:spcBef>
              <a:buClr>
                <a:srgbClr val="0066A9"/>
              </a:buClr>
              <a:buFont typeface="Wingdings" panose="05000000000000000000" pitchFamily="2" charset="2"/>
              <a:buChar char="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3pPr>
            <a:lvl4pPr marL="720725" indent="-273050" algn="l" defTabSz="914400" rtl="0" eaLnBrk="1" latinLnBrk="0" hangingPunct="1">
              <a:spcBef>
                <a:spcPts val="4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38FDFA3-F5B0-4BC3-9E09-D644D952F017}" type="slidenum">
              <a:rPr lang="de-DE" altLang="de-DE" smtClean="0"/>
              <a:pPr/>
              <a:t>31</a:t>
            </a:fld>
            <a:endParaRPr lang="de-DE" altLang="de-DE"/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B320D3D7-3A0D-481C-A68E-8FD9DFAEDB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9621" y="985525"/>
            <a:ext cx="554679" cy="2784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4" descr="Bildergebnis für romania flag">
            <a:extLst>
              <a:ext uri="{FF2B5EF4-FFF2-40B4-BE49-F238E27FC236}">
                <a16:creationId xmlns:a16="http://schemas.microsoft.com/office/drawing/2014/main" id="{123A6A43-4548-414A-AA74-70AB9B4DE9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3359" y="1005522"/>
            <a:ext cx="460393" cy="3069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618CE492-D54D-4E20-8C9F-501639EA5613}"/>
              </a:ext>
            </a:extLst>
          </p:cNvPr>
          <p:cNvSpPr/>
          <p:nvPr/>
        </p:nvSpPr>
        <p:spPr>
          <a:xfrm>
            <a:off x="642363" y="3442034"/>
            <a:ext cx="7859216" cy="679101"/>
          </a:xfrm>
          <a:prstGeom prst="roundRect">
            <a:avLst/>
          </a:prstGeom>
          <a:noFill/>
          <a:ln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37121E5E-FDEE-483F-BC82-401B62AEFC0A}"/>
              </a:ext>
            </a:extLst>
          </p:cNvPr>
          <p:cNvSpPr/>
          <p:nvPr/>
        </p:nvSpPr>
        <p:spPr>
          <a:xfrm>
            <a:off x="666101" y="4431852"/>
            <a:ext cx="7859216" cy="224875"/>
          </a:xfrm>
          <a:prstGeom prst="roundRect">
            <a:avLst/>
          </a:prstGeom>
          <a:noFill/>
          <a:ln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0595989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98F415-CD7C-4718-9B0E-4025EFFCD2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i="1" dirty="0"/>
              <a:t>Capacity products &amp; tariffs ROHU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73E465B-279B-4596-8366-07B19AB501A8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2D7B5EB-AFDB-46EC-9855-C6F2DF167A86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B813A43-7410-4060-B2B9-6E1ABD4ED08C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97E3C4E-B97C-4D67-9F55-F044DF38CF1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BFEDFF8-03B5-49D7-8F8E-93B2E51F9E0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32</a:t>
            </a:fld>
            <a:endParaRPr lang="de-DE" dirty="0"/>
          </a:p>
        </p:txBody>
      </p:sp>
      <p:pic>
        <p:nvPicPr>
          <p:cNvPr id="8" name="Inhaltsplatzhalter 4">
            <a:extLst>
              <a:ext uri="{FF2B5EF4-FFF2-40B4-BE49-F238E27FC236}">
                <a16:creationId xmlns:a16="http://schemas.microsoft.com/office/drawing/2014/main" id="{3B12FDF6-79CE-482B-909F-29C1FA44A2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3568" y="1126098"/>
            <a:ext cx="7359009" cy="4525963"/>
          </a:xfrm>
          <a:prstGeom prst="rect">
            <a:avLst/>
          </a:prstGeom>
        </p:spPr>
      </p:pic>
      <p:sp>
        <p:nvSpPr>
          <p:cNvPr id="9" name="Foliennummernplatzhalter 3">
            <a:extLst>
              <a:ext uri="{FF2B5EF4-FFF2-40B4-BE49-F238E27FC236}">
                <a16:creationId xmlns:a16="http://schemas.microsoft.com/office/drawing/2014/main" id="{03D5AF35-CA03-4B87-8FA2-B7C26A9D1AA3}"/>
              </a:ext>
            </a:extLst>
          </p:cNvPr>
          <p:cNvSpPr txBox="1">
            <a:spLocks/>
          </p:cNvSpPr>
          <p:nvPr/>
        </p:nvSpPr>
        <p:spPr>
          <a:xfrm>
            <a:off x="6553200" y="5427418"/>
            <a:ext cx="2133600" cy="4762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600" i="1" kern="1200" baseline="0">
                <a:solidFill>
                  <a:schemeClr val="bg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1pPr>
            <a:lvl2pPr marL="268288" indent="-268288" algn="l" defTabSz="914400" rtl="0" eaLnBrk="1" latinLnBrk="0" hangingPunct="1">
              <a:spcBef>
                <a:spcPts val="500"/>
              </a:spcBef>
              <a:buClr>
                <a:srgbClr val="0066A9"/>
              </a:buClr>
              <a:buFont typeface="Arial" panose="020B0604020202020204" pitchFamily="34" charset="0"/>
              <a:buChar char="&gt;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2pPr>
            <a:lvl3pPr marL="536575" indent="-268288" algn="l" defTabSz="914400" rtl="0" eaLnBrk="1" latinLnBrk="0" hangingPunct="1">
              <a:spcBef>
                <a:spcPts val="400"/>
              </a:spcBef>
              <a:buClr>
                <a:srgbClr val="0066A9"/>
              </a:buClr>
              <a:buFont typeface="Wingdings" panose="05000000000000000000" pitchFamily="2" charset="2"/>
              <a:buChar char="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3pPr>
            <a:lvl4pPr marL="720725" indent="-273050" algn="l" defTabSz="914400" rtl="0" eaLnBrk="1" latinLnBrk="0" hangingPunct="1">
              <a:spcBef>
                <a:spcPts val="4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38FDFA3-F5B0-4BC3-9E09-D644D952F017}" type="slidenum">
              <a:rPr lang="de-DE" altLang="de-DE" smtClean="0"/>
              <a:pPr/>
              <a:t>32</a:t>
            </a:fld>
            <a:endParaRPr lang="de-DE" altLang="de-DE"/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EBCAB61E-7BAD-4174-9B21-CD55DB068F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3529" y="919650"/>
            <a:ext cx="554679" cy="2784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4" descr="Bildergebnis für romania flag">
            <a:extLst>
              <a:ext uri="{FF2B5EF4-FFF2-40B4-BE49-F238E27FC236}">
                <a16:creationId xmlns:a16="http://schemas.microsoft.com/office/drawing/2014/main" id="{A5F24937-C7BD-4F44-8DF3-658258FD21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5936" y="891148"/>
            <a:ext cx="460393" cy="3069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82A7FA14-DF99-48F2-96A9-E69E213EA826}"/>
              </a:ext>
            </a:extLst>
          </p:cNvPr>
          <p:cNvSpPr/>
          <p:nvPr/>
        </p:nvSpPr>
        <p:spPr>
          <a:xfrm>
            <a:off x="457200" y="3403281"/>
            <a:ext cx="7859216" cy="864096"/>
          </a:xfrm>
          <a:prstGeom prst="roundRect">
            <a:avLst/>
          </a:prstGeom>
          <a:noFill/>
          <a:ln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E1E1BB6D-7241-49F4-9C36-6F4C0599FA9B}"/>
              </a:ext>
            </a:extLst>
          </p:cNvPr>
          <p:cNvSpPr/>
          <p:nvPr/>
        </p:nvSpPr>
        <p:spPr>
          <a:xfrm>
            <a:off x="457200" y="4555408"/>
            <a:ext cx="7859216" cy="224875"/>
          </a:xfrm>
          <a:prstGeom prst="roundRect">
            <a:avLst/>
          </a:prstGeom>
          <a:noFill/>
          <a:ln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0628035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36C157F-8BBC-49F0-A9F8-A4F6A19ACD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i="1" dirty="0"/>
              <a:t>Capacity products &amp; tariffs ROHU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90C0A44-C597-4979-97B2-2F02EB0140E3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8FFD5D1-E1F6-425C-A294-8F255710345C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34FFA69-AC97-4F39-8AAF-CB0380ACEF6D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221501A-71F4-4C96-A4A4-712BF1F625D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2CB6D79-DE6B-4933-BB6A-6DFAAA9683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33</a:t>
            </a:fld>
            <a:endParaRPr lang="de-DE" dirty="0"/>
          </a:p>
        </p:txBody>
      </p:sp>
      <p:pic>
        <p:nvPicPr>
          <p:cNvPr id="8" name="Inhaltsplatzhalter 4">
            <a:extLst>
              <a:ext uri="{FF2B5EF4-FFF2-40B4-BE49-F238E27FC236}">
                <a16:creationId xmlns:a16="http://schemas.microsoft.com/office/drawing/2014/main" id="{F6B67CB5-C65E-4ACC-8E43-334C8627E1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3608" y="1113632"/>
            <a:ext cx="6649146" cy="4525963"/>
          </a:xfrm>
          <a:prstGeom prst="rect">
            <a:avLst/>
          </a:prstGeom>
        </p:spPr>
      </p:pic>
      <p:sp>
        <p:nvSpPr>
          <p:cNvPr id="9" name="Foliennummernplatzhalter 3">
            <a:extLst>
              <a:ext uri="{FF2B5EF4-FFF2-40B4-BE49-F238E27FC236}">
                <a16:creationId xmlns:a16="http://schemas.microsoft.com/office/drawing/2014/main" id="{5906092E-7255-4669-A164-7BA7999E72AD}"/>
              </a:ext>
            </a:extLst>
          </p:cNvPr>
          <p:cNvSpPr txBox="1">
            <a:spLocks/>
          </p:cNvSpPr>
          <p:nvPr/>
        </p:nvSpPr>
        <p:spPr>
          <a:xfrm>
            <a:off x="6985248" y="5298009"/>
            <a:ext cx="2133600" cy="4762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600" i="1" kern="1200" baseline="0">
                <a:solidFill>
                  <a:schemeClr val="bg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1pPr>
            <a:lvl2pPr marL="268288" indent="-268288" algn="l" defTabSz="914400" rtl="0" eaLnBrk="1" latinLnBrk="0" hangingPunct="1">
              <a:spcBef>
                <a:spcPts val="500"/>
              </a:spcBef>
              <a:buClr>
                <a:srgbClr val="0066A9"/>
              </a:buClr>
              <a:buFont typeface="Arial" panose="020B0604020202020204" pitchFamily="34" charset="0"/>
              <a:buChar char="&gt;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2pPr>
            <a:lvl3pPr marL="536575" indent="-268288" algn="l" defTabSz="914400" rtl="0" eaLnBrk="1" latinLnBrk="0" hangingPunct="1">
              <a:spcBef>
                <a:spcPts val="400"/>
              </a:spcBef>
              <a:buClr>
                <a:srgbClr val="0066A9"/>
              </a:buClr>
              <a:buFont typeface="Wingdings" panose="05000000000000000000" pitchFamily="2" charset="2"/>
              <a:buChar char="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3pPr>
            <a:lvl4pPr marL="720725" indent="-273050" algn="l" defTabSz="914400" rtl="0" eaLnBrk="1" latinLnBrk="0" hangingPunct="1">
              <a:spcBef>
                <a:spcPts val="4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38FDFA3-F5B0-4BC3-9E09-D644D952F017}" type="slidenum">
              <a:rPr lang="de-DE" altLang="de-DE" smtClean="0"/>
              <a:pPr/>
              <a:t>33</a:t>
            </a:fld>
            <a:endParaRPr lang="de-DE" altLang="de-DE"/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DB4F588A-4715-4443-964E-D6BAF1CEB7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8181" y="892267"/>
            <a:ext cx="554679" cy="2784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4" descr="Bildergebnis für romania flag">
            <a:extLst>
              <a:ext uri="{FF2B5EF4-FFF2-40B4-BE49-F238E27FC236}">
                <a16:creationId xmlns:a16="http://schemas.microsoft.com/office/drawing/2014/main" id="{AA590431-2741-412A-BAC8-69648C8410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2200" y="929323"/>
            <a:ext cx="460393" cy="3069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8279B073-4439-477D-808E-549622938196}"/>
              </a:ext>
            </a:extLst>
          </p:cNvPr>
          <p:cNvSpPr/>
          <p:nvPr/>
        </p:nvSpPr>
        <p:spPr>
          <a:xfrm>
            <a:off x="865082" y="3390049"/>
            <a:ext cx="7859216" cy="864096"/>
          </a:xfrm>
          <a:prstGeom prst="roundRect">
            <a:avLst/>
          </a:prstGeom>
          <a:noFill/>
          <a:ln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9657A7B3-3927-41ED-9025-251FEBAE680B}"/>
              </a:ext>
            </a:extLst>
          </p:cNvPr>
          <p:cNvSpPr/>
          <p:nvPr/>
        </p:nvSpPr>
        <p:spPr>
          <a:xfrm>
            <a:off x="865082" y="4542176"/>
            <a:ext cx="7859216" cy="224875"/>
          </a:xfrm>
          <a:prstGeom prst="roundRect">
            <a:avLst/>
          </a:prstGeom>
          <a:noFill/>
          <a:ln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196791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ACBD6CD-6B3D-4A20-B53C-1BD9F74262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i="1" dirty="0"/>
              <a:t>CAPEX HUAT (</a:t>
            </a:r>
            <a:r>
              <a:rPr lang="en-US" b="1" i="1" dirty="0" err="1"/>
              <a:t>Mosonmagyarovar</a:t>
            </a:r>
            <a:r>
              <a:rPr lang="en-US" b="1" i="1" dirty="0"/>
              <a:t>)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7CB560C-D3A5-41DB-BF94-E2A7CEB49165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A6BDB76-B602-4751-90FD-5782B8FA27F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34</a:t>
            </a:fld>
            <a:endParaRPr lang="de-DE" dirty="0"/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2FE3416A-DCA2-42EB-BA2C-C80503307B86}"/>
              </a:ext>
            </a:extLst>
          </p:cNvPr>
          <p:cNvSpPr txBox="1">
            <a:spLocks/>
          </p:cNvSpPr>
          <p:nvPr/>
        </p:nvSpPr>
        <p:spPr>
          <a:xfrm>
            <a:off x="385072" y="915566"/>
            <a:ext cx="8435280" cy="452596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1pPr>
            <a:lvl2pPr marL="268288" indent="-268288" algn="l" defTabSz="914400" rtl="0" eaLnBrk="1" latinLnBrk="0" hangingPunct="1">
              <a:spcBef>
                <a:spcPts val="500"/>
              </a:spcBef>
              <a:buClr>
                <a:srgbClr val="0066A9"/>
              </a:buClr>
              <a:buFont typeface="Arial" panose="020B0604020202020204" pitchFamily="34" charset="0"/>
              <a:buChar char="&gt;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2pPr>
            <a:lvl3pPr marL="536575" indent="-268288" algn="l" defTabSz="914400" rtl="0" eaLnBrk="1" latinLnBrk="0" hangingPunct="1">
              <a:spcBef>
                <a:spcPts val="400"/>
              </a:spcBef>
              <a:buClr>
                <a:srgbClr val="0066A9"/>
              </a:buClr>
              <a:buFont typeface="Wingdings" panose="05000000000000000000" pitchFamily="2" charset="2"/>
              <a:buChar char="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3pPr>
            <a:lvl4pPr marL="720725" indent="-273050" algn="l" defTabSz="914400" rtl="0" eaLnBrk="1" latinLnBrk="0" hangingPunct="1">
              <a:spcBef>
                <a:spcPts val="4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u="sng" dirty="0"/>
              <a:t>CAPEX estimations Austria:</a:t>
            </a:r>
            <a:endParaRPr lang="de-DE" dirty="0"/>
          </a:p>
          <a:p>
            <a:r>
              <a:rPr lang="en-US" sz="2000" dirty="0"/>
              <a:t>Total CAPEX estimation for </a:t>
            </a:r>
            <a:r>
              <a:rPr lang="en-US" sz="2000" b="1" dirty="0"/>
              <a:t>offer level 1 </a:t>
            </a:r>
            <a:r>
              <a:rPr lang="en-US" sz="2000" dirty="0"/>
              <a:t>: </a:t>
            </a:r>
            <a:endParaRPr lang="de-DE" sz="2000" dirty="0"/>
          </a:p>
          <a:p>
            <a:r>
              <a:rPr lang="en-US" sz="2000" b="1" dirty="0"/>
              <a:t>	94,117,500</a:t>
            </a:r>
            <a:r>
              <a:rPr lang="en-US" sz="2000" dirty="0"/>
              <a:t> </a:t>
            </a:r>
            <a:r>
              <a:rPr lang="en-US" sz="2000" b="1" dirty="0"/>
              <a:t>EUR</a:t>
            </a:r>
            <a:r>
              <a:rPr lang="en-US" sz="2000" dirty="0"/>
              <a:t> (incl. 25% contingencies)</a:t>
            </a:r>
            <a:endParaRPr lang="de-DE" sz="2000" dirty="0"/>
          </a:p>
          <a:p>
            <a:r>
              <a:rPr lang="en-US" sz="2000" dirty="0"/>
              <a:t>Total CAPEX estimation for </a:t>
            </a:r>
            <a:r>
              <a:rPr lang="en-US" sz="2000" b="1" dirty="0"/>
              <a:t>offer level 2 </a:t>
            </a:r>
            <a:r>
              <a:rPr lang="en-US" sz="2000" dirty="0"/>
              <a:t>:</a:t>
            </a:r>
            <a:endParaRPr lang="de-DE" sz="2000" dirty="0"/>
          </a:p>
          <a:p>
            <a:r>
              <a:rPr lang="en-US" sz="2000" b="1" dirty="0"/>
              <a:t>	202,000,000</a:t>
            </a:r>
            <a:r>
              <a:rPr lang="en-US" sz="2000" dirty="0"/>
              <a:t> </a:t>
            </a:r>
            <a:r>
              <a:rPr lang="en-US" sz="2000" b="1" dirty="0"/>
              <a:t>EUR</a:t>
            </a:r>
            <a:r>
              <a:rPr lang="en-US" sz="2000" dirty="0"/>
              <a:t> (incl. 25% contingencies)</a:t>
            </a:r>
            <a:endParaRPr lang="de-DE" sz="2000" dirty="0"/>
          </a:p>
          <a:p>
            <a:endParaRPr lang="en-US" u="sng" dirty="0"/>
          </a:p>
          <a:p>
            <a:r>
              <a:rPr lang="en-US" u="sng" dirty="0"/>
              <a:t>CAPEX estimations Hungary:</a:t>
            </a:r>
            <a:endParaRPr lang="de-DE" dirty="0"/>
          </a:p>
          <a:p>
            <a:endParaRPr lang="de-DE" dirty="0"/>
          </a:p>
          <a:p>
            <a:r>
              <a:rPr lang="en-US" sz="2000" dirty="0"/>
              <a:t>Total CAPEX estimation for </a:t>
            </a:r>
            <a:r>
              <a:rPr lang="en-US" sz="2000" b="1" dirty="0"/>
              <a:t>offer level 1</a:t>
            </a:r>
            <a:r>
              <a:rPr lang="en-US" sz="2000" dirty="0"/>
              <a:t>:</a:t>
            </a:r>
            <a:endParaRPr lang="de-DE" sz="2000" dirty="0"/>
          </a:p>
          <a:p>
            <a:r>
              <a:rPr lang="en-US" sz="2000" b="1" dirty="0"/>
              <a:t>	485,628,000 EUR </a:t>
            </a:r>
            <a:r>
              <a:rPr lang="en-US" sz="2000" dirty="0"/>
              <a:t>(incl. 25% contingencies)</a:t>
            </a:r>
            <a:endParaRPr lang="de-DE" sz="2000" dirty="0"/>
          </a:p>
          <a:p>
            <a:r>
              <a:rPr lang="en-US" sz="2000" dirty="0"/>
              <a:t>Total CAPEX estimation for </a:t>
            </a:r>
            <a:r>
              <a:rPr lang="en-US" sz="2000" b="1" dirty="0"/>
              <a:t>offer level 2 </a:t>
            </a:r>
            <a:r>
              <a:rPr lang="en-US" sz="2000" dirty="0"/>
              <a:t>:</a:t>
            </a:r>
            <a:endParaRPr lang="de-DE" sz="2000" dirty="0"/>
          </a:p>
          <a:p>
            <a:r>
              <a:rPr lang="en-US" sz="2000" b="1" dirty="0"/>
              <a:t>	634,514,000 EUR </a:t>
            </a:r>
            <a:r>
              <a:rPr lang="en-US" sz="2000" dirty="0"/>
              <a:t>(incl. 25% contingencies)</a:t>
            </a:r>
            <a:endParaRPr lang="de-DE" sz="2000" dirty="0"/>
          </a:p>
          <a:p>
            <a:endParaRPr lang="de-DE" dirty="0"/>
          </a:p>
        </p:txBody>
      </p:sp>
      <p:sp>
        <p:nvSpPr>
          <p:cNvPr id="9" name="Foliennummernplatzhalter 3">
            <a:extLst>
              <a:ext uri="{FF2B5EF4-FFF2-40B4-BE49-F238E27FC236}">
                <a16:creationId xmlns:a16="http://schemas.microsoft.com/office/drawing/2014/main" id="{299B7C4B-BC67-4B06-A9A6-18EF66C84443}"/>
              </a:ext>
            </a:extLst>
          </p:cNvPr>
          <p:cNvSpPr txBox="1">
            <a:spLocks/>
          </p:cNvSpPr>
          <p:nvPr/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600" i="1" kern="1200" baseline="0">
                <a:solidFill>
                  <a:schemeClr val="bg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1pPr>
            <a:lvl2pPr marL="268288" indent="-268288" algn="l" defTabSz="914400" rtl="0" eaLnBrk="1" latinLnBrk="0" hangingPunct="1">
              <a:spcBef>
                <a:spcPts val="500"/>
              </a:spcBef>
              <a:buClr>
                <a:srgbClr val="0066A9"/>
              </a:buClr>
              <a:buFont typeface="Arial" panose="020B0604020202020204" pitchFamily="34" charset="0"/>
              <a:buChar char="&gt;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2pPr>
            <a:lvl3pPr marL="536575" indent="-268288" algn="l" defTabSz="914400" rtl="0" eaLnBrk="1" latinLnBrk="0" hangingPunct="1">
              <a:spcBef>
                <a:spcPts val="400"/>
              </a:spcBef>
              <a:buClr>
                <a:srgbClr val="0066A9"/>
              </a:buClr>
              <a:buFont typeface="Wingdings" panose="05000000000000000000" pitchFamily="2" charset="2"/>
              <a:buChar char="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3pPr>
            <a:lvl4pPr marL="720725" indent="-273050" algn="l" defTabSz="914400" rtl="0" eaLnBrk="1" latinLnBrk="0" hangingPunct="1">
              <a:spcBef>
                <a:spcPts val="4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38FDFA3-F5B0-4BC3-9E09-D644D952F017}" type="slidenum">
              <a:rPr lang="de-DE" altLang="de-DE" smtClean="0"/>
              <a:pPr/>
              <a:t>34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8561224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0306518-9EAD-499A-9EAF-359B4DF657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Tariffs overview ROHUAT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21F82BD-3578-4B81-9BD0-68D03214DCF2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(in local currency) status 18.05.2017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0B43A50-D5FB-4D0D-9681-9BE3FAD5681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39" name="Foliennummernplatzhalter 3">
            <a:extLst>
              <a:ext uri="{FF2B5EF4-FFF2-40B4-BE49-F238E27FC236}">
                <a16:creationId xmlns:a16="http://schemas.microsoft.com/office/drawing/2014/main" id="{86C56B22-C840-4689-A3BB-2D956AE54C87}"/>
              </a:ext>
            </a:extLst>
          </p:cNvPr>
          <p:cNvSpPr txBox="1">
            <a:spLocks/>
          </p:cNvSpPr>
          <p:nvPr/>
        </p:nvSpPr>
        <p:spPr>
          <a:xfrm>
            <a:off x="7561457" y="5290186"/>
            <a:ext cx="2133600" cy="4762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600" i="1" kern="1200" baseline="0">
                <a:solidFill>
                  <a:schemeClr val="bg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1pPr>
            <a:lvl2pPr marL="268288" indent="-268288" algn="l" defTabSz="914400" rtl="0" eaLnBrk="1" latinLnBrk="0" hangingPunct="1">
              <a:spcBef>
                <a:spcPts val="500"/>
              </a:spcBef>
              <a:buClr>
                <a:srgbClr val="0066A9"/>
              </a:buClr>
              <a:buFont typeface="Arial" panose="020B0604020202020204" pitchFamily="34" charset="0"/>
              <a:buChar char="&gt;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2pPr>
            <a:lvl3pPr marL="536575" indent="-268288" algn="l" defTabSz="914400" rtl="0" eaLnBrk="1" latinLnBrk="0" hangingPunct="1">
              <a:spcBef>
                <a:spcPts val="400"/>
              </a:spcBef>
              <a:buClr>
                <a:srgbClr val="0066A9"/>
              </a:buClr>
              <a:buFont typeface="Wingdings" panose="05000000000000000000" pitchFamily="2" charset="2"/>
              <a:buChar char="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3pPr>
            <a:lvl4pPr marL="720725" indent="-273050" algn="l" defTabSz="914400" rtl="0" eaLnBrk="1" latinLnBrk="0" hangingPunct="1">
              <a:spcBef>
                <a:spcPts val="4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38FDFA3-F5B0-4BC3-9E09-D644D952F017}" type="slidenum">
              <a:rPr lang="de-DE" altLang="de-DE" smtClean="0"/>
              <a:pPr/>
              <a:t>4</a:t>
            </a:fld>
            <a:endParaRPr lang="de-DE" altLang="de-DE" dirty="0"/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0B9BA087-9247-4133-AED5-B4F6F8685B5D}"/>
              </a:ext>
            </a:extLst>
          </p:cNvPr>
          <p:cNvGrpSpPr/>
          <p:nvPr/>
        </p:nvGrpSpPr>
        <p:grpSpPr>
          <a:xfrm>
            <a:off x="-566905" y="1335602"/>
            <a:ext cx="10097113" cy="4241412"/>
            <a:chOff x="-731754" y="2290641"/>
            <a:chExt cx="10097113" cy="4241412"/>
          </a:xfrm>
        </p:grpSpPr>
        <p:sp>
          <p:nvSpPr>
            <p:cNvPr id="41" name="Freeform 26">
              <a:extLst>
                <a:ext uri="{FF2B5EF4-FFF2-40B4-BE49-F238E27FC236}">
                  <a16:creationId xmlns:a16="http://schemas.microsoft.com/office/drawing/2014/main" id="{15770083-E8B1-4B2E-A671-9DD603B010C9}"/>
                </a:ext>
              </a:extLst>
            </p:cNvPr>
            <p:cNvSpPr>
              <a:spLocks/>
            </p:cNvSpPr>
            <p:nvPr/>
          </p:nvSpPr>
          <p:spPr bwMode="gray">
            <a:xfrm>
              <a:off x="-731754" y="2290641"/>
              <a:ext cx="3912163" cy="2158172"/>
            </a:xfrm>
            <a:custGeom>
              <a:avLst/>
              <a:gdLst>
                <a:gd name="T0" fmla="*/ 31 w 302"/>
                <a:gd name="T1" fmla="*/ 209 h 148"/>
                <a:gd name="T2" fmla="*/ 48 w 302"/>
                <a:gd name="T3" fmla="*/ 207 h 148"/>
                <a:gd name="T4" fmla="*/ 70 w 302"/>
                <a:gd name="T5" fmla="*/ 215 h 148"/>
                <a:gd name="T6" fmla="*/ 86 w 302"/>
                <a:gd name="T7" fmla="*/ 229 h 148"/>
                <a:gd name="T8" fmla="*/ 100 w 302"/>
                <a:gd name="T9" fmla="*/ 244 h 148"/>
                <a:gd name="T10" fmla="*/ 138 w 302"/>
                <a:gd name="T11" fmla="*/ 224 h 148"/>
                <a:gd name="T12" fmla="*/ 155 w 302"/>
                <a:gd name="T13" fmla="*/ 207 h 148"/>
                <a:gd name="T14" fmla="*/ 198 w 302"/>
                <a:gd name="T15" fmla="*/ 209 h 148"/>
                <a:gd name="T16" fmla="*/ 217 w 302"/>
                <a:gd name="T17" fmla="*/ 229 h 148"/>
                <a:gd name="T18" fmla="*/ 275 w 302"/>
                <a:gd name="T19" fmla="*/ 220 h 148"/>
                <a:gd name="T20" fmla="*/ 303 w 302"/>
                <a:gd name="T21" fmla="*/ 209 h 148"/>
                <a:gd name="T22" fmla="*/ 392 w 302"/>
                <a:gd name="T23" fmla="*/ 198 h 148"/>
                <a:gd name="T24" fmla="*/ 429 w 302"/>
                <a:gd name="T25" fmla="*/ 184 h 148"/>
                <a:gd name="T26" fmla="*/ 477 w 302"/>
                <a:gd name="T27" fmla="*/ 189 h 148"/>
                <a:gd name="T28" fmla="*/ 486 w 302"/>
                <a:gd name="T29" fmla="*/ 207 h 148"/>
                <a:gd name="T30" fmla="*/ 523 w 302"/>
                <a:gd name="T31" fmla="*/ 215 h 148"/>
                <a:gd name="T32" fmla="*/ 523 w 302"/>
                <a:gd name="T33" fmla="*/ 184 h 148"/>
                <a:gd name="T34" fmla="*/ 516 w 302"/>
                <a:gd name="T35" fmla="*/ 164 h 148"/>
                <a:gd name="T36" fmla="*/ 499 w 302"/>
                <a:gd name="T37" fmla="*/ 106 h 148"/>
                <a:gd name="T38" fmla="*/ 577 w 302"/>
                <a:gd name="T39" fmla="*/ 76 h 148"/>
                <a:gd name="T40" fmla="*/ 593 w 302"/>
                <a:gd name="T41" fmla="*/ 50 h 148"/>
                <a:gd name="T42" fmla="*/ 661 w 302"/>
                <a:gd name="T43" fmla="*/ 47 h 148"/>
                <a:gd name="T44" fmla="*/ 700 w 302"/>
                <a:gd name="T45" fmla="*/ 56 h 148"/>
                <a:gd name="T46" fmla="*/ 770 w 302"/>
                <a:gd name="T47" fmla="*/ 50 h 148"/>
                <a:gd name="T48" fmla="*/ 905 w 302"/>
                <a:gd name="T49" fmla="*/ 21 h 148"/>
                <a:gd name="T50" fmla="*/ 1070 w 302"/>
                <a:gd name="T51" fmla="*/ 26 h 148"/>
                <a:gd name="T52" fmla="*/ 1106 w 302"/>
                <a:gd name="T53" fmla="*/ 47 h 148"/>
                <a:gd name="T54" fmla="*/ 1100 w 302"/>
                <a:gd name="T55" fmla="*/ 91 h 148"/>
                <a:gd name="T56" fmla="*/ 1160 w 302"/>
                <a:gd name="T57" fmla="*/ 143 h 148"/>
                <a:gd name="T58" fmla="*/ 1121 w 302"/>
                <a:gd name="T59" fmla="*/ 189 h 148"/>
                <a:gd name="T60" fmla="*/ 1060 w 302"/>
                <a:gd name="T61" fmla="*/ 184 h 148"/>
                <a:gd name="T62" fmla="*/ 1023 w 302"/>
                <a:gd name="T63" fmla="*/ 195 h 148"/>
                <a:gd name="T64" fmla="*/ 1060 w 302"/>
                <a:gd name="T65" fmla="*/ 209 h 148"/>
                <a:gd name="T66" fmla="*/ 1028 w 302"/>
                <a:gd name="T67" fmla="*/ 229 h 148"/>
                <a:gd name="T68" fmla="*/ 1038 w 302"/>
                <a:gd name="T69" fmla="*/ 267 h 148"/>
                <a:gd name="T70" fmla="*/ 1008 w 302"/>
                <a:gd name="T71" fmla="*/ 306 h 148"/>
                <a:gd name="T72" fmla="*/ 964 w 302"/>
                <a:gd name="T73" fmla="*/ 334 h 148"/>
                <a:gd name="T74" fmla="*/ 884 w 302"/>
                <a:gd name="T75" fmla="*/ 347 h 148"/>
                <a:gd name="T76" fmla="*/ 792 w 302"/>
                <a:gd name="T77" fmla="*/ 347 h 148"/>
                <a:gd name="T78" fmla="*/ 732 w 302"/>
                <a:gd name="T79" fmla="*/ 366 h 148"/>
                <a:gd name="T80" fmla="*/ 675 w 302"/>
                <a:gd name="T81" fmla="*/ 362 h 148"/>
                <a:gd name="T82" fmla="*/ 577 w 302"/>
                <a:gd name="T83" fmla="*/ 351 h 148"/>
                <a:gd name="T84" fmla="*/ 429 w 302"/>
                <a:gd name="T85" fmla="*/ 332 h 148"/>
                <a:gd name="T86" fmla="*/ 382 w 302"/>
                <a:gd name="T87" fmla="*/ 297 h 148"/>
                <a:gd name="T88" fmla="*/ 332 w 302"/>
                <a:gd name="T89" fmla="*/ 290 h 148"/>
                <a:gd name="T90" fmla="*/ 275 w 302"/>
                <a:gd name="T91" fmla="*/ 290 h 148"/>
                <a:gd name="T92" fmla="*/ 244 w 302"/>
                <a:gd name="T93" fmla="*/ 290 h 148"/>
                <a:gd name="T94" fmla="*/ 185 w 302"/>
                <a:gd name="T95" fmla="*/ 316 h 148"/>
                <a:gd name="T96" fmla="*/ 138 w 302"/>
                <a:gd name="T97" fmla="*/ 290 h 148"/>
                <a:gd name="T98" fmla="*/ 94 w 302"/>
                <a:gd name="T99" fmla="*/ 306 h 148"/>
                <a:gd name="T100" fmla="*/ 56 w 302"/>
                <a:gd name="T101" fmla="*/ 283 h 148"/>
                <a:gd name="T102" fmla="*/ 16 w 302"/>
                <a:gd name="T103" fmla="*/ 267 h 148"/>
                <a:gd name="T104" fmla="*/ 16 w 302"/>
                <a:gd name="T105" fmla="*/ 229 h 148"/>
                <a:gd name="T106" fmla="*/ 10 w 302"/>
                <a:gd name="T107" fmla="*/ 207 h 1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02"/>
                <a:gd name="T163" fmla="*/ 0 h 148"/>
                <a:gd name="T164" fmla="*/ 302 w 302"/>
                <a:gd name="T165" fmla="*/ 148 h 14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02" h="148">
                  <a:moveTo>
                    <a:pt x="2" y="80"/>
                  </a:moveTo>
                  <a:lnTo>
                    <a:pt x="8" y="82"/>
                  </a:lnTo>
                  <a:lnTo>
                    <a:pt x="12" y="78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8" y="84"/>
                  </a:lnTo>
                  <a:lnTo>
                    <a:pt x="22" y="86"/>
                  </a:lnTo>
                  <a:lnTo>
                    <a:pt x="22" y="90"/>
                  </a:lnTo>
                  <a:lnTo>
                    <a:pt x="26" y="90"/>
                  </a:lnTo>
                  <a:lnTo>
                    <a:pt x="26" y="96"/>
                  </a:lnTo>
                  <a:lnTo>
                    <a:pt x="28" y="96"/>
                  </a:lnTo>
                  <a:lnTo>
                    <a:pt x="36" y="88"/>
                  </a:lnTo>
                  <a:lnTo>
                    <a:pt x="36" y="80"/>
                  </a:lnTo>
                  <a:lnTo>
                    <a:pt x="40" y="80"/>
                  </a:lnTo>
                  <a:lnTo>
                    <a:pt x="44" y="80"/>
                  </a:lnTo>
                  <a:lnTo>
                    <a:pt x="52" y="82"/>
                  </a:lnTo>
                  <a:lnTo>
                    <a:pt x="54" y="86"/>
                  </a:lnTo>
                  <a:lnTo>
                    <a:pt x="56" y="90"/>
                  </a:lnTo>
                  <a:lnTo>
                    <a:pt x="66" y="90"/>
                  </a:lnTo>
                  <a:lnTo>
                    <a:pt x="72" y="86"/>
                  </a:lnTo>
                  <a:lnTo>
                    <a:pt x="74" y="82"/>
                  </a:lnTo>
                  <a:lnTo>
                    <a:pt x="78" y="82"/>
                  </a:lnTo>
                  <a:lnTo>
                    <a:pt x="80" y="78"/>
                  </a:lnTo>
                  <a:lnTo>
                    <a:pt x="102" y="78"/>
                  </a:lnTo>
                  <a:lnTo>
                    <a:pt x="104" y="72"/>
                  </a:lnTo>
                  <a:lnTo>
                    <a:pt x="112" y="72"/>
                  </a:lnTo>
                  <a:lnTo>
                    <a:pt x="114" y="76"/>
                  </a:lnTo>
                  <a:lnTo>
                    <a:pt x="124" y="74"/>
                  </a:lnTo>
                  <a:lnTo>
                    <a:pt x="128" y="76"/>
                  </a:lnTo>
                  <a:lnTo>
                    <a:pt x="126" y="80"/>
                  </a:lnTo>
                  <a:lnTo>
                    <a:pt x="134" y="86"/>
                  </a:lnTo>
                  <a:lnTo>
                    <a:pt x="136" y="84"/>
                  </a:lnTo>
                  <a:lnTo>
                    <a:pt x="136" y="76"/>
                  </a:lnTo>
                  <a:lnTo>
                    <a:pt x="136" y="72"/>
                  </a:lnTo>
                  <a:lnTo>
                    <a:pt x="130" y="70"/>
                  </a:lnTo>
                  <a:lnTo>
                    <a:pt x="134" y="64"/>
                  </a:lnTo>
                  <a:lnTo>
                    <a:pt x="124" y="48"/>
                  </a:lnTo>
                  <a:lnTo>
                    <a:pt x="130" y="42"/>
                  </a:lnTo>
                  <a:lnTo>
                    <a:pt x="148" y="34"/>
                  </a:lnTo>
                  <a:lnTo>
                    <a:pt x="150" y="30"/>
                  </a:lnTo>
                  <a:lnTo>
                    <a:pt x="150" y="22"/>
                  </a:lnTo>
                  <a:lnTo>
                    <a:pt x="154" y="20"/>
                  </a:lnTo>
                  <a:lnTo>
                    <a:pt x="160" y="26"/>
                  </a:lnTo>
                  <a:lnTo>
                    <a:pt x="172" y="18"/>
                  </a:lnTo>
                  <a:lnTo>
                    <a:pt x="174" y="18"/>
                  </a:lnTo>
                  <a:lnTo>
                    <a:pt x="182" y="22"/>
                  </a:lnTo>
                  <a:lnTo>
                    <a:pt x="190" y="24"/>
                  </a:lnTo>
                  <a:lnTo>
                    <a:pt x="200" y="20"/>
                  </a:lnTo>
                  <a:lnTo>
                    <a:pt x="212" y="0"/>
                  </a:lnTo>
                  <a:lnTo>
                    <a:pt x="236" y="8"/>
                  </a:lnTo>
                  <a:lnTo>
                    <a:pt x="254" y="14"/>
                  </a:lnTo>
                  <a:lnTo>
                    <a:pt x="278" y="10"/>
                  </a:lnTo>
                  <a:lnTo>
                    <a:pt x="286" y="16"/>
                  </a:lnTo>
                  <a:lnTo>
                    <a:pt x="288" y="18"/>
                  </a:lnTo>
                  <a:lnTo>
                    <a:pt x="288" y="20"/>
                  </a:lnTo>
                  <a:lnTo>
                    <a:pt x="286" y="36"/>
                  </a:lnTo>
                  <a:lnTo>
                    <a:pt x="290" y="42"/>
                  </a:lnTo>
                  <a:lnTo>
                    <a:pt x="302" y="56"/>
                  </a:lnTo>
                  <a:lnTo>
                    <a:pt x="292" y="64"/>
                  </a:lnTo>
                  <a:lnTo>
                    <a:pt x="292" y="74"/>
                  </a:lnTo>
                  <a:lnTo>
                    <a:pt x="280" y="74"/>
                  </a:lnTo>
                  <a:lnTo>
                    <a:pt x="276" y="72"/>
                  </a:lnTo>
                  <a:lnTo>
                    <a:pt x="270" y="72"/>
                  </a:lnTo>
                  <a:lnTo>
                    <a:pt x="266" y="76"/>
                  </a:lnTo>
                  <a:lnTo>
                    <a:pt x="274" y="78"/>
                  </a:lnTo>
                  <a:lnTo>
                    <a:pt x="276" y="82"/>
                  </a:lnTo>
                  <a:lnTo>
                    <a:pt x="274" y="88"/>
                  </a:lnTo>
                  <a:lnTo>
                    <a:pt x="268" y="90"/>
                  </a:lnTo>
                  <a:lnTo>
                    <a:pt x="266" y="100"/>
                  </a:lnTo>
                  <a:lnTo>
                    <a:pt x="270" y="104"/>
                  </a:lnTo>
                  <a:lnTo>
                    <a:pt x="268" y="112"/>
                  </a:lnTo>
                  <a:lnTo>
                    <a:pt x="262" y="120"/>
                  </a:lnTo>
                  <a:lnTo>
                    <a:pt x="250" y="124"/>
                  </a:lnTo>
                  <a:lnTo>
                    <a:pt x="250" y="132"/>
                  </a:lnTo>
                  <a:lnTo>
                    <a:pt x="236" y="130"/>
                  </a:lnTo>
                  <a:lnTo>
                    <a:pt x="230" y="136"/>
                  </a:lnTo>
                  <a:lnTo>
                    <a:pt x="216" y="132"/>
                  </a:lnTo>
                  <a:lnTo>
                    <a:pt x="206" y="136"/>
                  </a:lnTo>
                  <a:lnTo>
                    <a:pt x="194" y="148"/>
                  </a:lnTo>
                  <a:lnTo>
                    <a:pt x="190" y="144"/>
                  </a:lnTo>
                  <a:lnTo>
                    <a:pt x="180" y="144"/>
                  </a:lnTo>
                  <a:lnTo>
                    <a:pt x="176" y="142"/>
                  </a:lnTo>
                  <a:lnTo>
                    <a:pt x="158" y="140"/>
                  </a:lnTo>
                  <a:lnTo>
                    <a:pt x="150" y="138"/>
                  </a:lnTo>
                  <a:lnTo>
                    <a:pt x="134" y="136"/>
                  </a:lnTo>
                  <a:lnTo>
                    <a:pt x="112" y="130"/>
                  </a:lnTo>
                  <a:lnTo>
                    <a:pt x="106" y="120"/>
                  </a:lnTo>
                  <a:lnTo>
                    <a:pt x="100" y="116"/>
                  </a:lnTo>
                  <a:lnTo>
                    <a:pt x="100" y="108"/>
                  </a:lnTo>
                  <a:lnTo>
                    <a:pt x="86" y="114"/>
                  </a:lnTo>
                  <a:lnTo>
                    <a:pt x="80" y="110"/>
                  </a:lnTo>
                  <a:lnTo>
                    <a:pt x="72" y="114"/>
                  </a:lnTo>
                  <a:lnTo>
                    <a:pt x="70" y="112"/>
                  </a:lnTo>
                  <a:lnTo>
                    <a:pt x="64" y="114"/>
                  </a:lnTo>
                  <a:lnTo>
                    <a:pt x="58" y="124"/>
                  </a:lnTo>
                  <a:lnTo>
                    <a:pt x="48" y="124"/>
                  </a:lnTo>
                  <a:lnTo>
                    <a:pt x="36" y="120"/>
                  </a:lnTo>
                  <a:lnTo>
                    <a:pt x="36" y="114"/>
                  </a:lnTo>
                  <a:lnTo>
                    <a:pt x="34" y="112"/>
                  </a:lnTo>
                  <a:lnTo>
                    <a:pt x="24" y="120"/>
                  </a:lnTo>
                  <a:lnTo>
                    <a:pt x="14" y="114"/>
                  </a:lnTo>
                  <a:lnTo>
                    <a:pt x="14" y="110"/>
                  </a:lnTo>
                  <a:lnTo>
                    <a:pt x="2" y="108"/>
                  </a:lnTo>
                  <a:lnTo>
                    <a:pt x="4" y="104"/>
                  </a:lnTo>
                  <a:lnTo>
                    <a:pt x="0" y="96"/>
                  </a:lnTo>
                  <a:lnTo>
                    <a:pt x="4" y="90"/>
                  </a:lnTo>
                  <a:lnTo>
                    <a:pt x="2" y="80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42" name="Freeform 29">
              <a:extLst>
                <a:ext uri="{FF2B5EF4-FFF2-40B4-BE49-F238E27FC236}">
                  <a16:creationId xmlns:a16="http://schemas.microsoft.com/office/drawing/2014/main" id="{BFCF12F1-02D7-404C-914D-0494D300FAB7}"/>
                </a:ext>
              </a:extLst>
            </p:cNvPr>
            <p:cNvSpPr>
              <a:spLocks/>
            </p:cNvSpPr>
            <p:nvPr/>
          </p:nvSpPr>
          <p:spPr bwMode="gray">
            <a:xfrm>
              <a:off x="2646371" y="2620362"/>
              <a:ext cx="3390541" cy="2338020"/>
            </a:xfrm>
            <a:custGeom>
              <a:avLst/>
              <a:gdLst>
                <a:gd name="T0" fmla="*/ 387 w 260"/>
                <a:gd name="T1" fmla="*/ 388 h 160"/>
                <a:gd name="T2" fmla="*/ 350 w 260"/>
                <a:gd name="T3" fmla="*/ 403 h 160"/>
                <a:gd name="T4" fmla="*/ 318 w 260"/>
                <a:gd name="T5" fmla="*/ 403 h 160"/>
                <a:gd name="T6" fmla="*/ 270 w 260"/>
                <a:gd name="T7" fmla="*/ 408 h 160"/>
                <a:gd name="T8" fmla="*/ 231 w 260"/>
                <a:gd name="T9" fmla="*/ 403 h 160"/>
                <a:gd name="T10" fmla="*/ 157 w 260"/>
                <a:gd name="T11" fmla="*/ 358 h 160"/>
                <a:gd name="T12" fmla="*/ 57 w 260"/>
                <a:gd name="T13" fmla="*/ 321 h 160"/>
                <a:gd name="T14" fmla="*/ 39 w 260"/>
                <a:gd name="T15" fmla="*/ 306 h 160"/>
                <a:gd name="T16" fmla="*/ 16 w 260"/>
                <a:gd name="T17" fmla="*/ 285 h 160"/>
                <a:gd name="T18" fmla="*/ 0 w 260"/>
                <a:gd name="T19" fmla="*/ 250 h 160"/>
                <a:gd name="T20" fmla="*/ 25 w 260"/>
                <a:gd name="T21" fmla="*/ 229 h 160"/>
                <a:gd name="T22" fmla="*/ 31 w 260"/>
                <a:gd name="T23" fmla="*/ 209 h 160"/>
                <a:gd name="T24" fmla="*/ 16 w 260"/>
                <a:gd name="T25" fmla="*/ 198 h 160"/>
                <a:gd name="T26" fmla="*/ 25 w 260"/>
                <a:gd name="T27" fmla="*/ 172 h 160"/>
                <a:gd name="T28" fmla="*/ 48 w 260"/>
                <a:gd name="T29" fmla="*/ 168 h 160"/>
                <a:gd name="T30" fmla="*/ 57 w 260"/>
                <a:gd name="T31" fmla="*/ 153 h 160"/>
                <a:gd name="T32" fmla="*/ 48 w 260"/>
                <a:gd name="T33" fmla="*/ 143 h 160"/>
                <a:gd name="T34" fmla="*/ 16 w 260"/>
                <a:gd name="T35" fmla="*/ 138 h 160"/>
                <a:gd name="T36" fmla="*/ 31 w 260"/>
                <a:gd name="T37" fmla="*/ 126 h 160"/>
                <a:gd name="T38" fmla="*/ 57 w 260"/>
                <a:gd name="T39" fmla="*/ 126 h 160"/>
                <a:gd name="T40" fmla="*/ 72 w 260"/>
                <a:gd name="T41" fmla="*/ 132 h 160"/>
                <a:gd name="T42" fmla="*/ 118 w 260"/>
                <a:gd name="T43" fmla="*/ 132 h 160"/>
                <a:gd name="T44" fmla="*/ 118 w 260"/>
                <a:gd name="T45" fmla="*/ 106 h 160"/>
                <a:gd name="T46" fmla="*/ 157 w 260"/>
                <a:gd name="T47" fmla="*/ 88 h 160"/>
                <a:gd name="T48" fmla="*/ 172 w 260"/>
                <a:gd name="T49" fmla="*/ 76 h 160"/>
                <a:gd name="T50" fmla="*/ 206 w 260"/>
                <a:gd name="T51" fmla="*/ 88 h 160"/>
                <a:gd name="T52" fmla="*/ 245 w 260"/>
                <a:gd name="T53" fmla="*/ 103 h 160"/>
                <a:gd name="T54" fmla="*/ 278 w 260"/>
                <a:gd name="T55" fmla="*/ 103 h 160"/>
                <a:gd name="T56" fmla="*/ 387 w 260"/>
                <a:gd name="T57" fmla="*/ 106 h 160"/>
                <a:gd name="T58" fmla="*/ 415 w 260"/>
                <a:gd name="T59" fmla="*/ 65 h 160"/>
                <a:gd name="T60" fmla="*/ 428 w 260"/>
                <a:gd name="T61" fmla="*/ 65 h 160"/>
                <a:gd name="T62" fmla="*/ 479 w 260"/>
                <a:gd name="T63" fmla="*/ 56 h 160"/>
                <a:gd name="T64" fmla="*/ 516 w 260"/>
                <a:gd name="T65" fmla="*/ 56 h 160"/>
                <a:gd name="T66" fmla="*/ 553 w 260"/>
                <a:gd name="T67" fmla="*/ 56 h 160"/>
                <a:gd name="T68" fmla="*/ 585 w 260"/>
                <a:gd name="T69" fmla="*/ 56 h 160"/>
                <a:gd name="T70" fmla="*/ 658 w 260"/>
                <a:gd name="T71" fmla="*/ 2 h 160"/>
                <a:gd name="T72" fmla="*/ 706 w 260"/>
                <a:gd name="T73" fmla="*/ 0 h 160"/>
                <a:gd name="T74" fmla="*/ 779 w 260"/>
                <a:gd name="T75" fmla="*/ 0 h 160"/>
                <a:gd name="T76" fmla="*/ 816 w 260"/>
                <a:gd name="T77" fmla="*/ 21 h 160"/>
                <a:gd name="T78" fmla="*/ 841 w 260"/>
                <a:gd name="T79" fmla="*/ 30 h 160"/>
                <a:gd name="T80" fmla="*/ 888 w 260"/>
                <a:gd name="T81" fmla="*/ 26 h 160"/>
                <a:gd name="T82" fmla="*/ 894 w 260"/>
                <a:gd name="T83" fmla="*/ 26 h 160"/>
                <a:gd name="T84" fmla="*/ 941 w 260"/>
                <a:gd name="T85" fmla="*/ 47 h 160"/>
                <a:gd name="T86" fmla="*/ 981 w 260"/>
                <a:gd name="T87" fmla="*/ 63 h 160"/>
                <a:gd name="T88" fmla="*/ 1028 w 260"/>
                <a:gd name="T89" fmla="*/ 88 h 160"/>
                <a:gd name="T90" fmla="*/ 999 w 260"/>
                <a:gd name="T91" fmla="*/ 106 h 160"/>
                <a:gd name="T92" fmla="*/ 919 w 260"/>
                <a:gd name="T93" fmla="*/ 122 h 160"/>
                <a:gd name="T94" fmla="*/ 878 w 260"/>
                <a:gd name="T95" fmla="*/ 153 h 160"/>
                <a:gd name="T96" fmla="*/ 816 w 260"/>
                <a:gd name="T97" fmla="*/ 244 h 160"/>
                <a:gd name="T98" fmla="*/ 767 w 260"/>
                <a:gd name="T99" fmla="*/ 300 h 160"/>
                <a:gd name="T100" fmla="*/ 719 w 260"/>
                <a:gd name="T101" fmla="*/ 334 h 160"/>
                <a:gd name="T102" fmla="*/ 696 w 260"/>
                <a:gd name="T103" fmla="*/ 347 h 160"/>
                <a:gd name="T104" fmla="*/ 643 w 260"/>
                <a:gd name="T105" fmla="*/ 347 h 160"/>
                <a:gd name="T106" fmla="*/ 625 w 260"/>
                <a:gd name="T107" fmla="*/ 358 h 160"/>
                <a:gd name="T108" fmla="*/ 610 w 260"/>
                <a:gd name="T109" fmla="*/ 358 h 160"/>
                <a:gd name="T110" fmla="*/ 553 w 260"/>
                <a:gd name="T111" fmla="*/ 351 h 160"/>
                <a:gd name="T112" fmla="*/ 492 w 260"/>
                <a:gd name="T113" fmla="*/ 358 h 160"/>
                <a:gd name="T114" fmla="*/ 387 w 260"/>
                <a:gd name="T115" fmla="*/ 388 h 160"/>
                <a:gd name="T116" fmla="*/ 387 w 260"/>
                <a:gd name="T117" fmla="*/ 388 h 16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60"/>
                <a:gd name="T178" fmla="*/ 0 h 160"/>
                <a:gd name="T179" fmla="*/ 260 w 260"/>
                <a:gd name="T180" fmla="*/ 160 h 16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60" h="160">
                  <a:moveTo>
                    <a:pt x="98" y="152"/>
                  </a:moveTo>
                  <a:lnTo>
                    <a:pt x="88" y="158"/>
                  </a:lnTo>
                  <a:lnTo>
                    <a:pt x="80" y="158"/>
                  </a:lnTo>
                  <a:lnTo>
                    <a:pt x="68" y="160"/>
                  </a:lnTo>
                  <a:lnTo>
                    <a:pt x="58" y="158"/>
                  </a:lnTo>
                  <a:lnTo>
                    <a:pt x="40" y="140"/>
                  </a:lnTo>
                  <a:lnTo>
                    <a:pt x="14" y="126"/>
                  </a:lnTo>
                  <a:lnTo>
                    <a:pt x="10" y="120"/>
                  </a:lnTo>
                  <a:lnTo>
                    <a:pt x="4" y="112"/>
                  </a:lnTo>
                  <a:lnTo>
                    <a:pt x="0" y="98"/>
                  </a:lnTo>
                  <a:lnTo>
                    <a:pt x="6" y="90"/>
                  </a:lnTo>
                  <a:lnTo>
                    <a:pt x="8" y="82"/>
                  </a:lnTo>
                  <a:lnTo>
                    <a:pt x="4" y="78"/>
                  </a:lnTo>
                  <a:lnTo>
                    <a:pt x="6" y="68"/>
                  </a:lnTo>
                  <a:lnTo>
                    <a:pt x="12" y="66"/>
                  </a:lnTo>
                  <a:lnTo>
                    <a:pt x="14" y="60"/>
                  </a:lnTo>
                  <a:lnTo>
                    <a:pt x="12" y="56"/>
                  </a:lnTo>
                  <a:lnTo>
                    <a:pt x="4" y="54"/>
                  </a:lnTo>
                  <a:lnTo>
                    <a:pt x="8" y="50"/>
                  </a:lnTo>
                  <a:lnTo>
                    <a:pt x="14" y="50"/>
                  </a:lnTo>
                  <a:lnTo>
                    <a:pt x="18" y="52"/>
                  </a:lnTo>
                  <a:lnTo>
                    <a:pt x="30" y="52"/>
                  </a:lnTo>
                  <a:lnTo>
                    <a:pt x="30" y="42"/>
                  </a:lnTo>
                  <a:lnTo>
                    <a:pt x="40" y="34"/>
                  </a:lnTo>
                  <a:lnTo>
                    <a:pt x="44" y="30"/>
                  </a:lnTo>
                  <a:lnTo>
                    <a:pt x="52" y="34"/>
                  </a:lnTo>
                  <a:lnTo>
                    <a:pt x="62" y="40"/>
                  </a:lnTo>
                  <a:lnTo>
                    <a:pt x="70" y="40"/>
                  </a:lnTo>
                  <a:lnTo>
                    <a:pt x="98" y="42"/>
                  </a:lnTo>
                  <a:lnTo>
                    <a:pt x="104" y="26"/>
                  </a:lnTo>
                  <a:lnTo>
                    <a:pt x="108" y="26"/>
                  </a:lnTo>
                  <a:lnTo>
                    <a:pt x="122" y="22"/>
                  </a:lnTo>
                  <a:lnTo>
                    <a:pt x="130" y="22"/>
                  </a:lnTo>
                  <a:lnTo>
                    <a:pt x="140" y="22"/>
                  </a:lnTo>
                  <a:lnTo>
                    <a:pt x="148" y="22"/>
                  </a:lnTo>
                  <a:lnTo>
                    <a:pt x="166" y="2"/>
                  </a:lnTo>
                  <a:lnTo>
                    <a:pt x="178" y="0"/>
                  </a:lnTo>
                  <a:lnTo>
                    <a:pt x="196" y="0"/>
                  </a:lnTo>
                  <a:lnTo>
                    <a:pt x="206" y="8"/>
                  </a:lnTo>
                  <a:lnTo>
                    <a:pt x="212" y="12"/>
                  </a:lnTo>
                  <a:lnTo>
                    <a:pt x="224" y="10"/>
                  </a:lnTo>
                  <a:lnTo>
                    <a:pt x="226" y="10"/>
                  </a:lnTo>
                  <a:lnTo>
                    <a:pt x="238" y="18"/>
                  </a:lnTo>
                  <a:lnTo>
                    <a:pt x="248" y="24"/>
                  </a:lnTo>
                  <a:lnTo>
                    <a:pt x="260" y="34"/>
                  </a:lnTo>
                  <a:lnTo>
                    <a:pt x="252" y="42"/>
                  </a:lnTo>
                  <a:lnTo>
                    <a:pt x="232" y="48"/>
                  </a:lnTo>
                  <a:lnTo>
                    <a:pt x="222" y="60"/>
                  </a:lnTo>
                  <a:lnTo>
                    <a:pt x="206" y="96"/>
                  </a:lnTo>
                  <a:lnTo>
                    <a:pt x="194" y="118"/>
                  </a:lnTo>
                  <a:lnTo>
                    <a:pt x="182" y="132"/>
                  </a:lnTo>
                  <a:lnTo>
                    <a:pt x="176" y="136"/>
                  </a:lnTo>
                  <a:lnTo>
                    <a:pt x="162" y="136"/>
                  </a:lnTo>
                  <a:lnTo>
                    <a:pt x="158" y="140"/>
                  </a:lnTo>
                  <a:lnTo>
                    <a:pt x="154" y="140"/>
                  </a:lnTo>
                  <a:lnTo>
                    <a:pt x="140" y="138"/>
                  </a:lnTo>
                  <a:lnTo>
                    <a:pt x="124" y="140"/>
                  </a:lnTo>
                  <a:lnTo>
                    <a:pt x="98" y="152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3" name="Freeform 34">
              <a:extLst>
                <a:ext uri="{FF2B5EF4-FFF2-40B4-BE49-F238E27FC236}">
                  <a16:creationId xmlns:a16="http://schemas.microsoft.com/office/drawing/2014/main" id="{9D2FB116-BCFF-49F1-9408-F0A232EB451A}"/>
                </a:ext>
              </a:extLst>
            </p:cNvPr>
            <p:cNvSpPr>
              <a:spLocks/>
            </p:cNvSpPr>
            <p:nvPr/>
          </p:nvSpPr>
          <p:spPr bwMode="gray">
            <a:xfrm>
              <a:off x="4670759" y="2875151"/>
              <a:ext cx="4694600" cy="3656902"/>
            </a:xfrm>
            <a:custGeom>
              <a:avLst/>
              <a:gdLst>
                <a:gd name="T0" fmla="*/ 16 w 362"/>
                <a:gd name="T1" fmla="*/ 318 h 250"/>
                <a:gd name="T2" fmla="*/ 86 w 362"/>
                <a:gd name="T3" fmla="*/ 306 h 250"/>
                <a:gd name="T4" fmla="*/ 155 w 362"/>
                <a:gd name="T5" fmla="*/ 260 h 250"/>
                <a:gd name="T6" fmla="*/ 260 w 362"/>
                <a:gd name="T7" fmla="*/ 109 h 250"/>
                <a:gd name="T8" fmla="*/ 379 w 362"/>
                <a:gd name="T9" fmla="*/ 63 h 250"/>
                <a:gd name="T10" fmla="*/ 413 w 362"/>
                <a:gd name="T11" fmla="*/ 35 h 250"/>
                <a:gd name="T12" fmla="*/ 486 w 362"/>
                <a:gd name="T13" fmla="*/ 35 h 250"/>
                <a:gd name="T14" fmla="*/ 623 w 362"/>
                <a:gd name="T15" fmla="*/ 53 h 250"/>
                <a:gd name="T16" fmla="*/ 646 w 362"/>
                <a:gd name="T17" fmla="*/ 66 h 250"/>
                <a:gd name="T18" fmla="*/ 673 w 362"/>
                <a:gd name="T19" fmla="*/ 77 h 250"/>
                <a:gd name="T20" fmla="*/ 716 w 362"/>
                <a:gd name="T21" fmla="*/ 66 h 250"/>
                <a:gd name="T22" fmla="*/ 858 w 362"/>
                <a:gd name="T23" fmla="*/ 41 h 250"/>
                <a:gd name="T24" fmla="*/ 890 w 362"/>
                <a:gd name="T25" fmla="*/ 2 h 250"/>
                <a:gd name="T26" fmla="*/ 945 w 362"/>
                <a:gd name="T27" fmla="*/ 0 h 250"/>
                <a:gd name="T28" fmla="*/ 1036 w 362"/>
                <a:gd name="T29" fmla="*/ 93 h 250"/>
                <a:gd name="T30" fmla="*/ 1151 w 362"/>
                <a:gd name="T31" fmla="*/ 185 h 250"/>
                <a:gd name="T32" fmla="*/ 1169 w 362"/>
                <a:gd name="T33" fmla="*/ 265 h 250"/>
                <a:gd name="T34" fmla="*/ 1160 w 362"/>
                <a:gd name="T35" fmla="*/ 368 h 250"/>
                <a:gd name="T36" fmla="*/ 1145 w 362"/>
                <a:gd name="T37" fmla="*/ 388 h 250"/>
                <a:gd name="T38" fmla="*/ 1169 w 362"/>
                <a:gd name="T39" fmla="*/ 409 h 250"/>
                <a:gd name="T40" fmla="*/ 1175 w 362"/>
                <a:gd name="T41" fmla="*/ 409 h 250"/>
                <a:gd name="T42" fmla="*/ 1210 w 362"/>
                <a:gd name="T43" fmla="*/ 437 h 250"/>
                <a:gd name="T44" fmla="*/ 1253 w 362"/>
                <a:gd name="T45" fmla="*/ 424 h 250"/>
                <a:gd name="T46" fmla="*/ 1328 w 362"/>
                <a:gd name="T47" fmla="*/ 409 h 250"/>
                <a:gd name="T48" fmla="*/ 1382 w 362"/>
                <a:gd name="T49" fmla="*/ 421 h 250"/>
                <a:gd name="T50" fmla="*/ 1365 w 362"/>
                <a:gd name="T51" fmla="*/ 465 h 250"/>
                <a:gd name="T52" fmla="*/ 1319 w 362"/>
                <a:gd name="T53" fmla="*/ 493 h 250"/>
                <a:gd name="T54" fmla="*/ 1271 w 362"/>
                <a:gd name="T55" fmla="*/ 509 h 250"/>
                <a:gd name="T56" fmla="*/ 1221 w 362"/>
                <a:gd name="T57" fmla="*/ 586 h 250"/>
                <a:gd name="T58" fmla="*/ 1210 w 362"/>
                <a:gd name="T59" fmla="*/ 647 h 250"/>
                <a:gd name="T60" fmla="*/ 1074 w 362"/>
                <a:gd name="T61" fmla="*/ 621 h 250"/>
                <a:gd name="T62" fmla="*/ 1022 w 362"/>
                <a:gd name="T63" fmla="*/ 606 h 250"/>
                <a:gd name="T64" fmla="*/ 945 w 362"/>
                <a:gd name="T65" fmla="*/ 581 h 250"/>
                <a:gd name="T66" fmla="*/ 778 w 362"/>
                <a:gd name="T67" fmla="*/ 645 h 250"/>
                <a:gd name="T68" fmla="*/ 661 w 362"/>
                <a:gd name="T69" fmla="*/ 621 h 250"/>
                <a:gd name="T70" fmla="*/ 593 w 362"/>
                <a:gd name="T71" fmla="*/ 638 h 250"/>
                <a:gd name="T72" fmla="*/ 491 w 362"/>
                <a:gd name="T73" fmla="*/ 616 h 250"/>
                <a:gd name="T74" fmla="*/ 407 w 362"/>
                <a:gd name="T75" fmla="*/ 628 h 250"/>
                <a:gd name="T76" fmla="*/ 392 w 362"/>
                <a:gd name="T77" fmla="*/ 616 h 250"/>
                <a:gd name="T78" fmla="*/ 382 w 362"/>
                <a:gd name="T79" fmla="*/ 591 h 250"/>
                <a:gd name="T80" fmla="*/ 322 w 362"/>
                <a:gd name="T81" fmla="*/ 564 h 250"/>
                <a:gd name="T82" fmla="*/ 338 w 362"/>
                <a:gd name="T83" fmla="*/ 533 h 250"/>
                <a:gd name="T84" fmla="*/ 353 w 362"/>
                <a:gd name="T85" fmla="*/ 527 h 250"/>
                <a:gd name="T86" fmla="*/ 303 w 362"/>
                <a:gd name="T87" fmla="*/ 517 h 250"/>
                <a:gd name="T88" fmla="*/ 275 w 362"/>
                <a:gd name="T89" fmla="*/ 544 h 250"/>
                <a:gd name="T90" fmla="*/ 232 w 362"/>
                <a:gd name="T91" fmla="*/ 517 h 250"/>
                <a:gd name="T92" fmla="*/ 194 w 362"/>
                <a:gd name="T93" fmla="*/ 503 h 250"/>
                <a:gd name="T94" fmla="*/ 163 w 362"/>
                <a:gd name="T95" fmla="*/ 503 h 250"/>
                <a:gd name="T96" fmla="*/ 169 w 362"/>
                <a:gd name="T97" fmla="*/ 486 h 250"/>
                <a:gd name="T98" fmla="*/ 169 w 362"/>
                <a:gd name="T99" fmla="*/ 478 h 250"/>
                <a:gd name="T100" fmla="*/ 169 w 362"/>
                <a:gd name="T101" fmla="*/ 462 h 250"/>
                <a:gd name="T102" fmla="*/ 179 w 362"/>
                <a:gd name="T103" fmla="*/ 448 h 250"/>
                <a:gd name="T104" fmla="*/ 118 w 362"/>
                <a:gd name="T105" fmla="*/ 431 h 250"/>
                <a:gd name="T106" fmla="*/ 76 w 362"/>
                <a:gd name="T107" fmla="*/ 394 h 250"/>
                <a:gd name="T108" fmla="*/ 70 w 362"/>
                <a:gd name="T109" fmla="*/ 362 h 250"/>
                <a:gd name="T110" fmla="*/ 48 w 362"/>
                <a:gd name="T111" fmla="*/ 348 h 250"/>
                <a:gd name="T112" fmla="*/ 0 w 362"/>
                <a:gd name="T113" fmla="*/ 318 h 25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62"/>
                <a:gd name="T172" fmla="*/ 0 h 250"/>
                <a:gd name="T173" fmla="*/ 362 w 362"/>
                <a:gd name="T174" fmla="*/ 250 h 25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62" h="250">
                  <a:moveTo>
                    <a:pt x="0" y="122"/>
                  </a:moveTo>
                  <a:lnTo>
                    <a:pt x="4" y="122"/>
                  </a:lnTo>
                  <a:lnTo>
                    <a:pt x="8" y="118"/>
                  </a:lnTo>
                  <a:lnTo>
                    <a:pt x="22" y="118"/>
                  </a:lnTo>
                  <a:lnTo>
                    <a:pt x="28" y="114"/>
                  </a:lnTo>
                  <a:lnTo>
                    <a:pt x="40" y="100"/>
                  </a:lnTo>
                  <a:lnTo>
                    <a:pt x="52" y="78"/>
                  </a:lnTo>
                  <a:lnTo>
                    <a:pt x="68" y="42"/>
                  </a:lnTo>
                  <a:lnTo>
                    <a:pt x="78" y="30"/>
                  </a:lnTo>
                  <a:lnTo>
                    <a:pt x="98" y="24"/>
                  </a:lnTo>
                  <a:lnTo>
                    <a:pt x="106" y="16"/>
                  </a:lnTo>
                  <a:lnTo>
                    <a:pt x="108" y="14"/>
                  </a:lnTo>
                  <a:lnTo>
                    <a:pt x="120" y="16"/>
                  </a:lnTo>
                  <a:lnTo>
                    <a:pt x="126" y="14"/>
                  </a:lnTo>
                  <a:lnTo>
                    <a:pt x="142" y="18"/>
                  </a:lnTo>
                  <a:lnTo>
                    <a:pt x="162" y="20"/>
                  </a:lnTo>
                  <a:lnTo>
                    <a:pt x="168" y="18"/>
                  </a:lnTo>
                  <a:lnTo>
                    <a:pt x="168" y="26"/>
                  </a:lnTo>
                  <a:lnTo>
                    <a:pt x="174" y="26"/>
                  </a:lnTo>
                  <a:lnTo>
                    <a:pt x="176" y="30"/>
                  </a:lnTo>
                  <a:lnTo>
                    <a:pt x="182" y="30"/>
                  </a:lnTo>
                  <a:lnTo>
                    <a:pt x="186" y="26"/>
                  </a:lnTo>
                  <a:lnTo>
                    <a:pt x="190" y="20"/>
                  </a:lnTo>
                  <a:lnTo>
                    <a:pt x="224" y="16"/>
                  </a:lnTo>
                  <a:lnTo>
                    <a:pt x="230" y="12"/>
                  </a:lnTo>
                  <a:lnTo>
                    <a:pt x="232" y="2"/>
                  </a:lnTo>
                  <a:lnTo>
                    <a:pt x="242" y="2"/>
                  </a:lnTo>
                  <a:lnTo>
                    <a:pt x="246" y="0"/>
                  </a:lnTo>
                  <a:lnTo>
                    <a:pt x="258" y="4"/>
                  </a:lnTo>
                  <a:lnTo>
                    <a:pt x="270" y="36"/>
                  </a:lnTo>
                  <a:lnTo>
                    <a:pt x="288" y="64"/>
                  </a:lnTo>
                  <a:lnTo>
                    <a:pt x="300" y="72"/>
                  </a:lnTo>
                  <a:lnTo>
                    <a:pt x="306" y="92"/>
                  </a:lnTo>
                  <a:lnTo>
                    <a:pt x="304" y="102"/>
                  </a:lnTo>
                  <a:lnTo>
                    <a:pt x="300" y="128"/>
                  </a:lnTo>
                  <a:lnTo>
                    <a:pt x="302" y="142"/>
                  </a:lnTo>
                  <a:lnTo>
                    <a:pt x="302" y="148"/>
                  </a:lnTo>
                  <a:lnTo>
                    <a:pt x="298" y="150"/>
                  </a:lnTo>
                  <a:lnTo>
                    <a:pt x="302" y="152"/>
                  </a:lnTo>
                  <a:lnTo>
                    <a:pt x="304" y="158"/>
                  </a:lnTo>
                  <a:lnTo>
                    <a:pt x="306" y="158"/>
                  </a:lnTo>
                  <a:lnTo>
                    <a:pt x="308" y="164"/>
                  </a:lnTo>
                  <a:lnTo>
                    <a:pt x="316" y="168"/>
                  </a:lnTo>
                  <a:lnTo>
                    <a:pt x="326" y="170"/>
                  </a:lnTo>
                  <a:lnTo>
                    <a:pt x="326" y="164"/>
                  </a:lnTo>
                  <a:lnTo>
                    <a:pt x="334" y="164"/>
                  </a:lnTo>
                  <a:lnTo>
                    <a:pt x="346" y="158"/>
                  </a:lnTo>
                  <a:lnTo>
                    <a:pt x="358" y="160"/>
                  </a:lnTo>
                  <a:lnTo>
                    <a:pt x="360" y="162"/>
                  </a:lnTo>
                  <a:lnTo>
                    <a:pt x="362" y="170"/>
                  </a:lnTo>
                  <a:lnTo>
                    <a:pt x="356" y="180"/>
                  </a:lnTo>
                  <a:lnTo>
                    <a:pt x="352" y="188"/>
                  </a:lnTo>
                  <a:lnTo>
                    <a:pt x="344" y="190"/>
                  </a:lnTo>
                  <a:lnTo>
                    <a:pt x="338" y="190"/>
                  </a:lnTo>
                  <a:lnTo>
                    <a:pt x="332" y="196"/>
                  </a:lnTo>
                  <a:lnTo>
                    <a:pt x="322" y="210"/>
                  </a:lnTo>
                  <a:lnTo>
                    <a:pt x="318" y="226"/>
                  </a:lnTo>
                  <a:lnTo>
                    <a:pt x="316" y="246"/>
                  </a:lnTo>
                  <a:lnTo>
                    <a:pt x="316" y="250"/>
                  </a:lnTo>
                  <a:lnTo>
                    <a:pt x="304" y="248"/>
                  </a:lnTo>
                  <a:lnTo>
                    <a:pt x="280" y="240"/>
                  </a:lnTo>
                  <a:lnTo>
                    <a:pt x="272" y="234"/>
                  </a:lnTo>
                  <a:lnTo>
                    <a:pt x="266" y="234"/>
                  </a:lnTo>
                  <a:lnTo>
                    <a:pt x="256" y="224"/>
                  </a:lnTo>
                  <a:lnTo>
                    <a:pt x="246" y="224"/>
                  </a:lnTo>
                  <a:lnTo>
                    <a:pt x="234" y="230"/>
                  </a:lnTo>
                  <a:lnTo>
                    <a:pt x="202" y="248"/>
                  </a:lnTo>
                  <a:lnTo>
                    <a:pt x="196" y="248"/>
                  </a:lnTo>
                  <a:lnTo>
                    <a:pt x="172" y="240"/>
                  </a:lnTo>
                  <a:lnTo>
                    <a:pt x="166" y="240"/>
                  </a:lnTo>
                  <a:lnTo>
                    <a:pt x="154" y="246"/>
                  </a:lnTo>
                  <a:lnTo>
                    <a:pt x="148" y="248"/>
                  </a:lnTo>
                  <a:lnTo>
                    <a:pt x="128" y="238"/>
                  </a:lnTo>
                  <a:lnTo>
                    <a:pt x="120" y="238"/>
                  </a:lnTo>
                  <a:lnTo>
                    <a:pt x="106" y="242"/>
                  </a:lnTo>
                  <a:lnTo>
                    <a:pt x="102" y="242"/>
                  </a:lnTo>
                  <a:lnTo>
                    <a:pt x="102" y="238"/>
                  </a:lnTo>
                  <a:lnTo>
                    <a:pt x="106" y="230"/>
                  </a:lnTo>
                  <a:lnTo>
                    <a:pt x="100" y="228"/>
                  </a:lnTo>
                  <a:lnTo>
                    <a:pt x="92" y="224"/>
                  </a:lnTo>
                  <a:lnTo>
                    <a:pt x="84" y="218"/>
                  </a:lnTo>
                  <a:lnTo>
                    <a:pt x="82" y="210"/>
                  </a:lnTo>
                  <a:lnTo>
                    <a:pt x="88" y="206"/>
                  </a:lnTo>
                  <a:lnTo>
                    <a:pt x="94" y="206"/>
                  </a:lnTo>
                  <a:lnTo>
                    <a:pt x="92" y="204"/>
                  </a:lnTo>
                  <a:lnTo>
                    <a:pt x="82" y="196"/>
                  </a:lnTo>
                  <a:lnTo>
                    <a:pt x="78" y="200"/>
                  </a:lnTo>
                  <a:lnTo>
                    <a:pt x="74" y="206"/>
                  </a:lnTo>
                  <a:lnTo>
                    <a:pt x="72" y="210"/>
                  </a:lnTo>
                  <a:lnTo>
                    <a:pt x="64" y="204"/>
                  </a:lnTo>
                  <a:lnTo>
                    <a:pt x="60" y="200"/>
                  </a:lnTo>
                  <a:lnTo>
                    <a:pt x="50" y="200"/>
                  </a:lnTo>
                  <a:lnTo>
                    <a:pt x="50" y="194"/>
                  </a:lnTo>
                  <a:lnTo>
                    <a:pt x="46" y="194"/>
                  </a:lnTo>
                  <a:lnTo>
                    <a:pt x="42" y="194"/>
                  </a:lnTo>
                  <a:lnTo>
                    <a:pt x="40" y="190"/>
                  </a:lnTo>
                  <a:lnTo>
                    <a:pt x="44" y="188"/>
                  </a:lnTo>
                  <a:lnTo>
                    <a:pt x="48" y="186"/>
                  </a:lnTo>
                  <a:lnTo>
                    <a:pt x="44" y="184"/>
                  </a:lnTo>
                  <a:lnTo>
                    <a:pt x="40" y="182"/>
                  </a:lnTo>
                  <a:lnTo>
                    <a:pt x="44" y="178"/>
                  </a:lnTo>
                  <a:lnTo>
                    <a:pt x="46" y="176"/>
                  </a:lnTo>
                  <a:lnTo>
                    <a:pt x="46" y="172"/>
                  </a:lnTo>
                  <a:lnTo>
                    <a:pt x="40" y="170"/>
                  </a:lnTo>
                  <a:lnTo>
                    <a:pt x="30" y="166"/>
                  </a:lnTo>
                  <a:lnTo>
                    <a:pt x="18" y="154"/>
                  </a:lnTo>
                  <a:lnTo>
                    <a:pt x="20" y="152"/>
                  </a:lnTo>
                  <a:lnTo>
                    <a:pt x="18" y="148"/>
                  </a:lnTo>
                  <a:lnTo>
                    <a:pt x="18" y="140"/>
                  </a:lnTo>
                  <a:lnTo>
                    <a:pt x="14" y="140"/>
                  </a:lnTo>
                  <a:lnTo>
                    <a:pt x="12" y="134"/>
                  </a:lnTo>
                  <a:lnTo>
                    <a:pt x="2" y="130"/>
                  </a:lnTo>
                  <a:lnTo>
                    <a:pt x="0" y="122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CE424B45-DA3D-4278-921C-7DABBE87F166}"/>
              </a:ext>
            </a:extLst>
          </p:cNvPr>
          <p:cNvCxnSpPr/>
          <p:nvPr/>
        </p:nvCxnSpPr>
        <p:spPr>
          <a:xfrm flipH="1" flipV="1">
            <a:off x="3242984" y="2246054"/>
            <a:ext cx="208663" cy="216024"/>
          </a:xfrm>
          <a:prstGeom prst="straightConnector1">
            <a:avLst/>
          </a:prstGeom>
          <a:ln w="28575">
            <a:solidFill>
              <a:srgbClr val="0066A9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8A9BB8D6-B3E6-4DDE-982A-B1B3276EC2E3}"/>
              </a:ext>
            </a:extLst>
          </p:cNvPr>
          <p:cNvCxnSpPr/>
          <p:nvPr/>
        </p:nvCxnSpPr>
        <p:spPr>
          <a:xfrm flipH="1" flipV="1">
            <a:off x="5214093" y="3561598"/>
            <a:ext cx="208663" cy="216024"/>
          </a:xfrm>
          <a:prstGeom prst="straightConnector1">
            <a:avLst/>
          </a:prstGeom>
          <a:ln w="28575">
            <a:solidFill>
              <a:srgbClr val="0066A9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6DDEEF79-DC38-4736-81A3-67C35C2BAC4A}"/>
              </a:ext>
            </a:extLst>
          </p:cNvPr>
          <p:cNvCxnSpPr/>
          <p:nvPr/>
        </p:nvCxnSpPr>
        <p:spPr>
          <a:xfrm flipH="1" flipV="1">
            <a:off x="4984896" y="3324343"/>
            <a:ext cx="208663" cy="216024"/>
          </a:xfrm>
          <a:prstGeom prst="straightConnector1">
            <a:avLst/>
          </a:prstGeom>
          <a:ln w="28575">
            <a:solidFill>
              <a:srgbClr val="0066A9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>
            <a:extLst>
              <a:ext uri="{FF2B5EF4-FFF2-40B4-BE49-F238E27FC236}">
                <a16:creationId xmlns:a16="http://schemas.microsoft.com/office/drawing/2014/main" id="{61C83398-BD7D-4441-AE33-8096AA47785B}"/>
              </a:ext>
            </a:extLst>
          </p:cNvPr>
          <p:cNvCxnSpPr/>
          <p:nvPr/>
        </p:nvCxnSpPr>
        <p:spPr>
          <a:xfrm flipH="1" flipV="1">
            <a:off x="2988602" y="2007208"/>
            <a:ext cx="208663" cy="216024"/>
          </a:xfrm>
          <a:prstGeom prst="straightConnector1">
            <a:avLst/>
          </a:prstGeom>
          <a:ln w="28575">
            <a:solidFill>
              <a:srgbClr val="0066A9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feld 47">
            <a:extLst>
              <a:ext uri="{FF2B5EF4-FFF2-40B4-BE49-F238E27FC236}">
                <a16:creationId xmlns:a16="http://schemas.microsoft.com/office/drawing/2014/main" id="{127F103E-36DA-498A-B992-695E938BAE74}"/>
              </a:ext>
            </a:extLst>
          </p:cNvPr>
          <p:cNvSpPr txBox="1"/>
          <p:nvPr/>
        </p:nvSpPr>
        <p:spPr>
          <a:xfrm>
            <a:off x="5680740" y="3254992"/>
            <a:ext cx="1135247" cy="70788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de-DE" sz="1000" b="1" i="1" dirty="0"/>
              <a:t>Exit</a:t>
            </a:r>
          </a:p>
          <a:p>
            <a:r>
              <a:rPr lang="de-DE" sz="1000" b="1" dirty="0">
                <a:solidFill>
                  <a:srgbClr val="0066A9"/>
                </a:solidFill>
              </a:rPr>
              <a:t>22,45 RON/kWh/h/y</a:t>
            </a:r>
          </a:p>
          <a:p>
            <a:r>
              <a:rPr lang="de-DE" sz="1000" b="1" dirty="0">
                <a:solidFill>
                  <a:srgbClr val="FF0000"/>
                </a:solidFill>
              </a:rPr>
              <a:t>22,67 RON/kWh/h/y</a:t>
            </a:r>
          </a:p>
          <a:p>
            <a:r>
              <a:rPr lang="de-DE" sz="1000" b="1" dirty="0">
                <a:solidFill>
                  <a:srgbClr val="005C2A"/>
                </a:solidFill>
              </a:rPr>
              <a:t>70%</a:t>
            </a:r>
            <a:endParaRPr lang="en-GB" sz="1000" b="1" dirty="0">
              <a:solidFill>
                <a:srgbClr val="005C2A"/>
              </a:solidFill>
            </a:endParaRP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6D35D97D-FB97-4339-A01E-4D538392A0AF}"/>
              </a:ext>
            </a:extLst>
          </p:cNvPr>
          <p:cNvSpPr txBox="1"/>
          <p:nvPr/>
        </p:nvSpPr>
        <p:spPr>
          <a:xfrm>
            <a:off x="4377960" y="2565399"/>
            <a:ext cx="1233030" cy="70788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de-DE" sz="1000" b="1" i="1" dirty="0"/>
              <a:t>Entry </a:t>
            </a:r>
          </a:p>
          <a:p>
            <a:r>
              <a:rPr lang="de-DE" sz="1000" b="1" dirty="0">
                <a:solidFill>
                  <a:srgbClr val="0066A9"/>
                </a:solidFill>
              </a:rPr>
              <a:t>1483,63 HUF/kWh/h/y</a:t>
            </a:r>
          </a:p>
          <a:p>
            <a:r>
              <a:rPr lang="de-DE" sz="1000" b="1" dirty="0">
                <a:solidFill>
                  <a:srgbClr val="FF0000"/>
                </a:solidFill>
              </a:rPr>
              <a:t>      0,0   HUF/kWh/h/y</a:t>
            </a:r>
            <a:endParaRPr lang="de-DE" sz="1000" b="1" dirty="0">
              <a:solidFill>
                <a:srgbClr val="005C2A"/>
              </a:solidFill>
            </a:endParaRPr>
          </a:p>
          <a:p>
            <a:r>
              <a:rPr lang="de-DE" sz="1000" b="1" dirty="0">
                <a:solidFill>
                  <a:srgbClr val="005C2A"/>
                </a:solidFill>
              </a:rPr>
              <a:t>    70%</a:t>
            </a:r>
            <a:endParaRPr lang="en-GB" sz="1000" b="1" dirty="0">
              <a:solidFill>
                <a:srgbClr val="005C2A"/>
              </a:solidFill>
            </a:endParaRP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DA10BFAC-9248-4EEB-91A4-11E856CB7357}"/>
              </a:ext>
            </a:extLst>
          </p:cNvPr>
          <p:cNvSpPr txBox="1"/>
          <p:nvPr/>
        </p:nvSpPr>
        <p:spPr>
          <a:xfrm>
            <a:off x="3495437" y="1828575"/>
            <a:ext cx="1175322" cy="70788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de-DE" sz="1000" b="1" i="1" dirty="0"/>
              <a:t>Exit</a:t>
            </a:r>
          </a:p>
          <a:p>
            <a:r>
              <a:rPr lang="de-DE" sz="1000" b="1" dirty="0">
                <a:solidFill>
                  <a:srgbClr val="0066A9"/>
                </a:solidFill>
              </a:rPr>
              <a:t>631,25 HUF/kWh/h/y</a:t>
            </a:r>
          </a:p>
          <a:p>
            <a:r>
              <a:rPr lang="de-DE" sz="1000" b="1" dirty="0">
                <a:solidFill>
                  <a:srgbClr val="FF0000"/>
                </a:solidFill>
              </a:rPr>
              <a:t>786,52 HUF/kWh/h/y</a:t>
            </a:r>
          </a:p>
          <a:p>
            <a:r>
              <a:rPr lang="de-DE" sz="1000" b="1" dirty="0">
                <a:solidFill>
                  <a:srgbClr val="005C2A"/>
                </a:solidFill>
              </a:rPr>
              <a:t>70%</a:t>
            </a:r>
            <a:endParaRPr lang="en-GB" sz="1000" b="1" dirty="0">
              <a:solidFill>
                <a:srgbClr val="005C2A"/>
              </a:solidFill>
            </a:endParaRP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39757978-5D50-48E5-8C8D-F0D541D8974E}"/>
              </a:ext>
            </a:extLst>
          </p:cNvPr>
          <p:cNvSpPr txBox="1"/>
          <p:nvPr/>
        </p:nvSpPr>
        <p:spPr>
          <a:xfrm>
            <a:off x="3203786" y="4035913"/>
            <a:ext cx="114486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</a:rPr>
              <a:t>98,72 HUF/MWh</a:t>
            </a:r>
            <a:endParaRPr lang="en-GB" sz="1000" b="1" dirty="0">
              <a:solidFill>
                <a:schemeClr val="bg1"/>
              </a:solidFill>
            </a:endParaRP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9AA492BF-0A11-420E-B07A-F37A106C19D4}"/>
              </a:ext>
            </a:extLst>
          </p:cNvPr>
          <p:cNvSpPr txBox="1"/>
          <p:nvPr/>
        </p:nvSpPr>
        <p:spPr>
          <a:xfrm>
            <a:off x="2040072" y="1570464"/>
            <a:ext cx="902811" cy="70788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de-DE" sz="1000" b="1" i="1" dirty="0"/>
              <a:t>Entry</a:t>
            </a:r>
          </a:p>
          <a:p>
            <a:r>
              <a:rPr lang="de-DE" sz="1000" b="1" dirty="0">
                <a:solidFill>
                  <a:srgbClr val="0066A9"/>
                </a:solidFill>
              </a:rPr>
              <a:t>0,77 €/kWh/h/y</a:t>
            </a:r>
          </a:p>
          <a:p>
            <a:r>
              <a:rPr lang="de-DE" sz="1000" b="1" dirty="0">
                <a:solidFill>
                  <a:srgbClr val="FF0000"/>
                </a:solidFill>
              </a:rPr>
              <a:t>3,31 €/kWh/h/y</a:t>
            </a:r>
          </a:p>
          <a:p>
            <a:r>
              <a:rPr lang="de-DE" sz="1000" b="1" dirty="0">
                <a:solidFill>
                  <a:srgbClr val="005C2A"/>
                </a:solidFill>
              </a:rPr>
              <a:t>33,3 %</a:t>
            </a:r>
            <a:endParaRPr lang="en-GB" sz="1000" b="1" dirty="0">
              <a:solidFill>
                <a:srgbClr val="005C2A"/>
              </a:solidFill>
            </a:endParaRPr>
          </a:p>
        </p:txBody>
      </p:sp>
      <p:sp>
        <p:nvSpPr>
          <p:cNvPr id="53" name="Ellipse 52">
            <a:extLst>
              <a:ext uri="{FF2B5EF4-FFF2-40B4-BE49-F238E27FC236}">
                <a16:creationId xmlns:a16="http://schemas.microsoft.com/office/drawing/2014/main" id="{A5BE3BFD-47FD-4CB4-AB5F-E6DB512B4F1C}"/>
              </a:ext>
            </a:extLst>
          </p:cNvPr>
          <p:cNvSpPr/>
          <p:nvPr/>
        </p:nvSpPr>
        <p:spPr>
          <a:xfrm>
            <a:off x="3197265" y="2185929"/>
            <a:ext cx="45719" cy="45719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000"/>
          </a:p>
        </p:txBody>
      </p:sp>
      <p:sp>
        <p:nvSpPr>
          <p:cNvPr id="54" name="Ellipse 53">
            <a:extLst>
              <a:ext uri="{FF2B5EF4-FFF2-40B4-BE49-F238E27FC236}">
                <a16:creationId xmlns:a16="http://schemas.microsoft.com/office/drawing/2014/main" id="{D72BF42A-7586-4EFF-B00A-29147CB7FC1C}"/>
              </a:ext>
            </a:extLst>
          </p:cNvPr>
          <p:cNvSpPr/>
          <p:nvPr/>
        </p:nvSpPr>
        <p:spPr>
          <a:xfrm>
            <a:off x="5162914" y="3563477"/>
            <a:ext cx="46038" cy="46038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000"/>
          </a:p>
        </p:txBody>
      </p:sp>
      <p:sp>
        <p:nvSpPr>
          <p:cNvPr id="55" name="Ellipse 54">
            <a:extLst>
              <a:ext uri="{FF2B5EF4-FFF2-40B4-BE49-F238E27FC236}">
                <a16:creationId xmlns:a16="http://schemas.microsoft.com/office/drawing/2014/main" id="{F8494D1D-14C4-40EF-B90B-BD4BD302E3D6}"/>
              </a:ext>
            </a:extLst>
          </p:cNvPr>
          <p:cNvSpPr/>
          <p:nvPr/>
        </p:nvSpPr>
        <p:spPr>
          <a:xfrm>
            <a:off x="8913313" y="5081347"/>
            <a:ext cx="46038" cy="46038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000"/>
          </a:p>
        </p:txBody>
      </p:sp>
      <p:pic>
        <p:nvPicPr>
          <p:cNvPr id="56" name="Picture 2">
            <a:extLst>
              <a:ext uri="{FF2B5EF4-FFF2-40B4-BE49-F238E27FC236}">
                <a16:creationId xmlns:a16="http://schemas.microsoft.com/office/drawing/2014/main" id="{00632375-C96D-438B-8047-5EC3E3B3CD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8497" y="1937098"/>
            <a:ext cx="413712" cy="277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" name="Picture 2">
            <a:extLst>
              <a:ext uri="{FF2B5EF4-FFF2-40B4-BE49-F238E27FC236}">
                <a16:creationId xmlns:a16="http://schemas.microsoft.com/office/drawing/2014/main" id="{0E87B4EE-283F-4CDE-A6FF-81E920AC98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1449" y="1974829"/>
            <a:ext cx="554679" cy="2784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" name="Picture 4" descr="Bildergebnis für romania flag">
            <a:extLst>
              <a:ext uri="{FF2B5EF4-FFF2-40B4-BE49-F238E27FC236}">
                <a16:creationId xmlns:a16="http://schemas.microsoft.com/office/drawing/2014/main" id="{4891581D-E0CF-4DA3-AC51-D44815BA45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5893" y="3667305"/>
            <a:ext cx="504056" cy="336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Textfeld 58">
            <a:extLst>
              <a:ext uri="{FF2B5EF4-FFF2-40B4-BE49-F238E27FC236}">
                <a16:creationId xmlns:a16="http://schemas.microsoft.com/office/drawing/2014/main" id="{5EBA0F2F-A1E8-40B8-859F-C73AD8230F18}"/>
              </a:ext>
            </a:extLst>
          </p:cNvPr>
          <p:cNvSpPr txBox="1"/>
          <p:nvPr/>
        </p:nvSpPr>
        <p:spPr>
          <a:xfrm>
            <a:off x="4953657" y="4001545"/>
            <a:ext cx="1135247" cy="70788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de-DE" sz="1000" b="1" i="1" dirty="0"/>
              <a:t>Entry</a:t>
            </a:r>
          </a:p>
          <a:p>
            <a:r>
              <a:rPr lang="de-DE" sz="1000" b="1" dirty="0">
                <a:solidFill>
                  <a:srgbClr val="0066A9"/>
                </a:solidFill>
              </a:rPr>
              <a:t>22,89</a:t>
            </a:r>
            <a:r>
              <a:rPr lang="de-DE" sz="1000" b="1" dirty="0"/>
              <a:t> </a:t>
            </a:r>
            <a:r>
              <a:rPr lang="de-DE" sz="1000" b="1" dirty="0">
                <a:solidFill>
                  <a:srgbClr val="0066A9"/>
                </a:solidFill>
              </a:rPr>
              <a:t>RON/kWh/h/y</a:t>
            </a:r>
          </a:p>
          <a:p>
            <a:r>
              <a:rPr lang="de-DE" sz="1000" b="1" dirty="0">
                <a:solidFill>
                  <a:srgbClr val="FF0000"/>
                </a:solidFill>
              </a:rPr>
              <a:t>23,12 RON/kWh/h/y</a:t>
            </a:r>
          </a:p>
          <a:p>
            <a:r>
              <a:rPr lang="de-DE" sz="1000" b="1" dirty="0">
                <a:solidFill>
                  <a:srgbClr val="005C2A"/>
                </a:solidFill>
              </a:rPr>
              <a:t>0%</a:t>
            </a:r>
            <a:endParaRPr lang="en-GB" sz="1000" b="1" dirty="0">
              <a:solidFill>
                <a:srgbClr val="005C2A"/>
              </a:solidFill>
            </a:endParaRPr>
          </a:p>
        </p:txBody>
      </p:sp>
      <p:cxnSp>
        <p:nvCxnSpPr>
          <p:cNvPr id="60" name="Gerade Verbindung mit Pfeil 59">
            <a:extLst>
              <a:ext uri="{FF2B5EF4-FFF2-40B4-BE49-F238E27FC236}">
                <a16:creationId xmlns:a16="http://schemas.microsoft.com/office/drawing/2014/main" id="{E61ECEFC-60ED-4448-A7B7-9B973CB7F0A1}"/>
              </a:ext>
            </a:extLst>
          </p:cNvPr>
          <p:cNvCxnSpPr/>
          <p:nvPr/>
        </p:nvCxnSpPr>
        <p:spPr>
          <a:xfrm>
            <a:off x="4942502" y="3400287"/>
            <a:ext cx="205882" cy="224843"/>
          </a:xfrm>
          <a:prstGeom prst="straightConnector1">
            <a:avLst/>
          </a:prstGeom>
          <a:ln w="28575">
            <a:solidFill>
              <a:srgbClr val="0066A9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mit Pfeil 60">
            <a:extLst>
              <a:ext uri="{FF2B5EF4-FFF2-40B4-BE49-F238E27FC236}">
                <a16:creationId xmlns:a16="http://schemas.microsoft.com/office/drawing/2014/main" id="{3836907D-5B88-479A-93FD-F87BB0411FAE}"/>
              </a:ext>
            </a:extLst>
          </p:cNvPr>
          <p:cNvCxnSpPr/>
          <p:nvPr/>
        </p:nvCxnSpPr>
        <p:spPr>
          <a:xfrm>
            <a:off x="5171607" y="3637357"/>
            <a:ext cx="204200" cy="240709"/>
          </a:xfrm>
          <a:prstGeom prst="straightConnector1">
            <a:avLst/>
          </a:prstGeom>
          <a:ln w="28575">
            <a:solidFill>
              <a:srgbClr val="0066A9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feld 61">
            <a:extLst>
              <a:ext uri="{FF2B5EF4-FFF2-40B4-BE49-F238E27FC236}">
                <a16:creationId xmlns:a16="http://schemas.microsoft.com/office/drawing/2014/main" id="{2046A5AB-CA25-4920-8B67-01DBD2D7760F}"/>
              </a:ext>
            </a:extLst>
          </p:cNvPr>
          <p:cNvSpPr txBox="1"/>
          <p:nvPr/>
        </p:nvSpPr>
        <p:spPr>
          <a:xfrm>
            <a:off x="3683848" y="3330407"/>
            <a:ext cx="1175322" cy="70788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de-DE" sz="1000" b="1" i="1" dirty="0"/>
              <a:t>Exit </a:t>
            </a:r>
          </a:p>
          <a:p>
            <a:r>
              <a:rPr lang="de-DE" sz="1000" b="1" dirty="0">
                <a:solidFill>
                  <a:srgbClr val="0066A9"/>
                </a:solidFill>
              </a:rPr>
              <a:t>631,25 HUF/kWh/h/y</a:t>
            </a:r>
          </a:p>
          <a:p>
            <a:r>
              <a:rPr lang="de-DE" sz="1000" b="1" dirty="0">
                <a:solidFill>
                  <a:srgbClr val="FF0000"/>
                </a:solidFill>
              </a:rPr>
              <a:t>    0,0   HUF/kWh/h/y</a:t>
            </a:r>
            <a:endParaRPr lang="de-DE" sz="1000" b="1" dirty="0">
              <a:solidFill>
                <a:srgbClr val="005C2A"/>
              </a:solidFill>
            </a:endParaRPr>
          </a:p>
          <a:p>
            <a:r>
              <a:rPr lang="de-DE" sz="1000" b="1" dirty="0">
                <a:solidFill>
                  <a:srgbClr val="005C2A"/>
                </a:solidFill>
              </a:rPr>
              <a:t>70%</a:t>
            </a:r>
            <a:endParaRPr lang="en-GB" sz="1000" b="1" dirty="0">
              <a:solidFill>
                <a:srgbClr val="005C2A"/>
              </a:solidFill>
            </a:endParaRPr>
          </a:p>
        </p:txBody>
      </p:sp>
      <p:sp>
        <p:nvSpPr>
          <p:cNvPr id="63" name="Inhaltsplatzhalter 55">
            <a:extLst>
              <a:ext uri="{FF2B5EF4-FFF2-40B4-BE49-F238E27FC236}">
                <a16:creationId xmlns:a16="http://schemas.microsoft.com/office/drawing/2014/main" id="{1D3B192F-383A-45D1-94C3-4931CD1DB91A}"/>
              </a:ext>
            </a:extLst>
          </p:cNvPr>
          <p:cNvSpPr txBox="1">
            <a:spLocks/>
          </p:cNvSpPr>
          <p:nvPr/>
        </p:nvSpPr>
        <p:spPr>
          <a:xfrm>
            <a:off x="96548" y="3760501"/>
            <a:ext cx="2670924" cy="6822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1pPr>
            <a:lvl2pPr marL="268288" indent="-268288" algn="l" defTabSz="914400" rtl="0" eaLnBrk="1" latinLnBrk="0" hangingPunct="1">
              <a:spcBef>
                <a:spcPts val="500"/>
              </a:spcBef>
              <a:buClr>
                <a:srgbClr val="0066A9"/>
              </a:buClr>
              <a:buFont typeface="Arial" panose="020B0604020202020204" pitchFamily="34" charset="0"/>
              <a:buChar char="&gt;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2pPr>
            <a:lvl3pPr marL="536575" indent="-268288" algn="l" defTabSz="914400" rtl="0" eaLnBrk="1" latinLnBrk="0" hangingPunct="1">
              <a:spcBef>
                <a:spcPts val="400"/>
              </a:spcBef>
              <a:buClr>
                <a:srgbClr val="0066A9"/>
              </a:buClr>
              <a:buFont typeface="Wingdings" panose="05000000000000000000" pitchFamily="2" charset="2"/>
              <a:buChar char="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3pPr>
            <a:lvl4pPr marL="720725" indent="-273050" algn="l" defTabSz="914400" rtl="0" eaLnBrk="1" latinLnBrk="0" hangingPunct="1">
              <a:spcBef>
                <a:spcPts val="4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 dirty="0">
                <a:solidFill>
                  <a:srgbClr val="0066A9"/>
                </a:solidFill>
              </a:rPr>
              <a:t>Reserve price</a:t>
            </a:r>
          </a:p>
          <a:p>
            <a:r>
              <a:rPr lang="en-US" sz="1000" b="1" dirty="0">
                <a:solidFill>
                  <a:srgbClr val="FF0000"/>
                </a:solidFill>
              </a:rPr>
              <a:t>Minimum Premium</a:t>
            </a:r>
          </a:p>
          <a:p>
            <a:r>
              <a:rPr lang="en-US" sz="1000" b="1" dirty="0">
                <a:solidFill>
                  <a:srgbClr val="005C2A"/>
                </a:solidFill>
              </a:rPr>
              <a:t>Minimum booked incremental capacity threshold  </a:t>
            </a:r>
          </a:p>
        </p:txBody>
      </p:sp>
      <p:sp>
        <p:nvSpPr>
          <p:cNvPr id="64" name="Nach rechts gekrümmter Pfeil 38">
            <a:extLst>
              <a:ext uri="{FF2B5EF4-FFF2-40B4-BE49-F238E27FC236}">
                <a16:creationId xmlns:a16="http://schemas.microsoft.com/office/drawing/2014/main" id="{40D540CD-D392-44BD-9BDE-2C25F28C3C8A}"/>
              </a:ext>
            </a:extLst>
          </p:cNvPr>
          <p:cNvSpPr/>
          <p:nvPr/>
        </p:nvSpPr>
        <p:spPr>
          <a:xfrm rot="6101759">
            <a:off x="4958254" y="-875735"/>
            <a:ext cx="382393" cy="4638337"/>
          </a:xfrm>
          <a:prstGeom prst="curvedRightArrow">
            <a:avLst>
              <a:gd name="adj1" fmla="val 25000"/>
              <a:gd name="adj2" fmla="val 100760"/>
              <a:gd name="adj3" fmla="val 25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65" name="Textfeld 64">
            <a:extLst>
              <a:ext uri="{FF2B5EF4-FFF2-40B4-BE49-F238E27FC236}">
                <a16:creationId xmlns:a16="http://schemas.microsoft.com/office/drawing/2014/main" id="{CBE60293-84B9-4A80-AEF1-4E96AFF6DC8D}"/>
              </a:ext>
            </a:extLst>
          </p:cNvPr>
          <p:cNvSpPr txBox="1"/>
          <p:nvPr/>
        </p:nvSpPr>
        <p:spPr>
          <a:xfrm>
            <a:off x="4563268" y="750582"/>
            <a:ext cx="20954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highlight>
                  <a:srgbClr val="FFFF00"/>
                </a:highlight>
              </a:rPr>
              <a:t>23,47    €/kWh/h/y</a:t>
            </a:r>
            <a:endParaRPr lang="en-GB" b="1" dirty="0">
              <a:highlight>
                <a:srgbClr val="FFFF00"/>
              </a:highlight>
            </a:endParaRPr>
          </a:p>
        </p:txBody>
      </p:sp>
      <p:sp>
        <p:nvSpPr>
          <p:cNvPr id="66" name="Nach rechts gekrümmter Pfeil 59">
            <a:extLst>
              <a:ext uri="{FF2B5EF4-FFF2-40B4-BE49-F238E27FC236}">
                <a16:creationId xmlns:a16="http://schemas.microsoft.com/office/drawing/2014/main" id="{7BF5A855-99C2-48FF-B62E-4905FBEC67A8}"/>
              </a:ext>
            </a:extLst>
          </p:cNvPr>
          <p:cNvSpPr/>
          <p:nvPr/>
        </p:nvSpPr>
        <p:spPr>
          <a:xfrm rot="17228021">
            <a:off x="4544666" y="3072217"/>
            <a:ext cx="382393" cy="2982579"/>
          </a:xfrm>
          <a:prstGeom prst="curvedRightArrow">
            <a:avLst>
              <a:gd name="adj1" fmla="val 25000"/>
              <a:gd name="adj2" fmla="val 100760"/>
              <a:gd name="adj3" fmla="val 25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67" name="Textfeld 66">
            <a:extLst>
              <a:ext uri="{FF2B5EF4-FFF2-40B4-BE49-F238E27FC236}">
                <a16:creationId xmlns:a16="http://schemas.microsoft.com/office/drawing/2014/main" id="{BAFBD2D9-57CA-4A90-B310-1CCA01954419}"/>
              </a:ext>
            </a:extLst>
          </p:cNvPr>
          <p:cNvSpPr txBox="1"/>
          <p:nvPr/>
        </p:nvSpPr>
        <p:spPr>
          <a:xfrm>
            <a:off x="2491477" y="4413796"/>
            <a:ext cx="21479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12,28   €/kWh/h/y</a:t>
            </a:r>
            <a:endParaRPr lang="en-GB" b="1" dirty="0"/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3E246F6F-1D6F-4F91-96F6-139BB70AB761}"/>
              </a:ext>
            </a:extLst>
          </p:cNvPr>
          <p:cNvSpPr/>
          <p:nvPr/>
        </p:nvSpPr>
        <p:spPr>
          <a:xfrm>
            <a:off x="-30626" y="4884418"/>
            <a:ext cx="907423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rgbClr val="000000"/>
                </a:solidFill>
                <a:latin typeface="Arial" panose="020B0604020202020204" pitchFamily="34" charset="0"/>
              </a:rPr>
              <a:t>Termination fee for </a:t>
            </a:r>
            <a:r>
              <a:rPr lang="en-US" sz="1400" b="1" i="1" dirty="0" err="1">
                <a:solidFill>
                  <a:srgbClr val="000000"/>
                </a:solidFill>
                <a:latin typeface="Arial" panose="020B0604020202020204" pitchFamily="34" charset="0"/>
              </a:rPr>
              <a:t>Transgaz</a:t>
            </a:r>
            <a:r>
              <a:rPr lang="en-US" sz="1400" b="1" i="1" dirty="0">
                <a:solidFill>
                  <a:srgbClr val="000000"/>
                </a:solidFill>
                <a:latin typeface="Arial" panose="020B0604020202020204" pitchFamily="34" charset="0"/>
              </a:rPr>
              <a:t>, GCA and FGSZ  is </a:t>
            </a:r>
            <a:r>
              <a:rPr lang="en-US" sz="1400" b="1" i="1" u="sng" dirty="0">
                <a:solidFill>
                  <a:srgbClr val="FF0000"/>
                </a:solidFill>
                <a:latin typeface="Arial" panose="020B0604020202020204" pitchFamily="34" charset="0"/>
              </a:rPr>
              <a:t>0.033%</a:t>
            </a:r>
            <a:r>
              <a:rPr lang="en-US" sz="1400" b="1" i="1" dirty="0">
                <a:solidFill>
                  <a:srgbClr val="000000"/>
                </a:solidFill>
                <a:latin typeface="Arial" panose="020B0604020202020204" pitchFamily="34" charset="0"/>
              </a:rPr>
              <a:t> of the respective value of the individual Bid </a:t>
            </a:r>
            <a:endParaRPr lang="de-DE" sz="1400" b="1" i="1" dirty="0"/>
          </a:p>
        </p:txBody>
      </p:sp>
    </p:spTree>
    <p:extLst>
      <p:ext uri="{BB962C8B-B14F-4D97-AF65-F5344CB8AC3E}">
        <p14:creationId xmlns:p14="http://schemas.microsoft.com/office/powerpoint/2010/main" val="4863472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2" dur="2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5" dur="2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8" dur="2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6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1" dur="20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4" dur="20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7" dur="20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0" dur="2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3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6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 animBg="1"/>
      <p:bldP spid="49" grpId="0" animBg="1"/>
      <p:bldP spid="50" grpId="0" animBg="1"/>
      <p:bldP spid="52" grpId="0" animBg="1"/>
      <p:bldP spid="59" grpId="0" animBg="1"/>
      <p:bldP spid="62" grpId="0" animBg="1"/>
      <p:bldP spid="64" grpId="0" animBg="1"/>
      <p:bldP spid="65" grpId="0"/>
      <p:bldP spid="66" grpId="0" animBg="1"/>
      <p:bldP spid="67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5F6211-1BC8-4871-85F6-F6E5CDC305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Project costs overview ROHUAT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423348-AD8A-4768-A994-F1EF8D6A5AAF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(in €) status 18.05.2017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5D0FE71-1145-4F7F-87A4-3A7309344E2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8" name="Foliennummernplatzhalter 3">
            <a:extLst>
              <a:ext uri="{FF2B5EF4-FFF2-40B4-BE49-F238E27FC236}">
                <a16:creationId xmlns:a16="http://schemas.microsoft.com/office/drawing/2014/main" id="{0356253F-2CB1-4815-B15B-3F34EA7902FD}"/>
              </a:ext>
            </a:extLst>
          </p:cNvPr>
          <p:cNvSpPr txBox="1">
            <a:spLocks/>
          </p:cNvSpPr>
          <p:nvPr/>
        </p:nvSpPr>
        <p:spPr>
          <a:xfrm>
            <a:off x="7839000" y="4264447"/>
            <a:ext cx="2133600" cy="4762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600" i="1" kern="1200" baseline="0">
                <a:solidFill>
                  <a:schemeClr val="bg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1pPr>
            <a:lvl2pPr marL="268288" indent="-268288" algn="l" defTabSz="914400" rtl="0" eaLnBrk="1" latinLnBrk="0" hangingPunct="1">
              <a:spcBef>
                <a:spcPts val="500"/>
              </a:spcBef>
              <a:buClr>
                <a:srgbClr val="0066A9"/>
              </a:buClr>
              <a:buFont typeface="Arial" panose="020B0604020202020204" pitchFamily="34" charset="0"/>
              <a:buChar char="&gt;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2pPr>
            <a:lvl3pPr marL="536575" indent="-268288" algn="l" defTabSz="914400" rtl="0" eaLnBrk="1" latinLnBrk="0" hangingPunct="1">
              <a:spcBef>
                <a:spcPts val="400"/>
              </a:spcBef>
              <a:buClr>
                <a:srgbClr val="0066A9"/>
              </a:buClr>
              <a:buFont typeface="Wingdings" panose="05000000000000000000" pitchFamily="2" charset="2"/>
              <a:buChar char="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3pPr>
            <a:lvl4pPr marL="720725" indent="-273050" algn="l" defTabSz="914400" rtl="0" eaLnBrk="1" latinLnBrk="0" hangingPunct="1">
              <a:spcBef>
                <a:spcPts val="4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38FDFA3-F5B0-4BC3-9E09-D644D952F017}" type="slidenum">
              <a:rPr lang="de-DE" altLang="de-DE" smtClean="0"/>
              <a:pPr/>
              <a:t>5</a:t>
            </a:fld>
            <a:endParaRPr lang="de-DE" altLang="de-DE" dirty="0"/>
          </a:p>
        </p:txBody>
      </p:sp>
      <p:grpSp>
        <p:nvGrpSpPr>
          <p:cNvPr id="9" name="Gruppierung 1">
            <a:extLst>
              <a:ext uri="{FF2B5EF4-FFF2-40B4-BE49-F238E27FC236}">
                <a16:creationId xmlns:a16="http://schemas.microsoft.com/office/drawing/2014/main" id="{EF441A9D-7EDB-445E-A5EE-F73CD74B5371}"/>
              </a:ext>
            </a:extLst>
          </p:cNvPr>
          <p:cNvGrpSpPr/>
          <p:nvPr/>
        </p:nvGrpSpPr>
        <p:grpSpPr>
          <a:xfrm>
            <a:off x="533903" y="1332464"/>
            <a:ext cx="7992945" cy="3421066"/>
            <a:chOff x="4992688" y="4651375"/>
            <a:chExt cx="1290637" cy="449263"/>
          </a:xfrm>
        </p:grpSpPr>
        <p:sp>
          <p:nvSpPr>
            <p:cNvPr id="10" name="Freeform 26">
              <a:extLst>
                <a:ext uri="{FF2B5EF4-FFF2-40B4-BE49-F238E27FC236}">
                  <a16:creationId xmlns:a16="http://schemas.microsoft.com/office/drawing/2014/main" id="{700D62C7-C3A6-4DD8-80E3-D4913FD4DB89}"/>
                </a:ext>
              </a:extLst>
            </p:cNvPr>
            <p:cNvSpPr>
              <a:spLocks/>
            </p:cNvSpPr>
            <p:nvPr/>
          </p:nvSpPr>
          <p:spPr bwMode="gray">
            <a:xfrm>
              <a:off x="4992688" y="4651375"/>
              <a:ext cx="500062" cy="228600"/>
            </a:xfrm>
            <a:custGeom>
              <a:avLst/>
              <a:gdLst>
                <a:gd name="T0" fmla="*/ 31 w 302"/>
                <a:gd name="T1" fmla="*/ 209 h 148"/>
                <a:gd name="T2" fmla="*/ 48 w 302"/>
                <a:gd name="T3" fmla="*/ 207 h 148"/>
                <a:gd name="T4" fmla="*/ 70 w 302"/>
                <a:gd name="T5" fmla="*/ 215 h 148"/>
                <a:gd name="T6" fmla="*/ 86 w 302"/>
                <a:gd name="T7" fmla="*/ 229 h 148"/>
                <a:gd name="T8" fmla="*/ 100 w 302"/>
                <a:gd name="T9" fmla="*/ 244 h 148"/>
                <a:gd name="T10" fmla="*/ 138 w 302"/>
                <a:gd name="T11" fmla="*/ 224 h 148"/>
                <a:gd name="T12" fmla="*/ 155 w 302"/>
                <a:gd name="T13" fmla="*/ 207 h 148"/>
                <a:gd name="T14" fmla="*/ 198 w 302"/>
                <a:gd name="T15" fmla="*/ 209 h 148"/>
                <a:gd name="T16" fmla="*/ 217 w 302"/>
                <a:gd name="T17" fmla="*/ 229 h 148"/>
                <a:gd name="T18" fmla="*/ 275 w 302"/>
                <a:gd name="T19" fmla="*/ 220 h 148"/>
                <a:gd name="T20" fmla="*/ 303 w 302"/>
                <a:gd name="T21" fmla="*/ 209 h 148"/>
                <a:gd name="T22" fmla="*/ 392 w 302"/>
                <a:gd name="T23" fmla="*/ 198 h 148"/>
                <a:gd name="T24" fmla="*/ 429 w 302"/>
                <a:gd name="T25" fmla="*/ 184 h 148"/>
                <a:gd name="T26" fmla="*/ 477 w 302"/>
                <a:gd name="T27" fmla="*/ 189 h 148"/>
                <a:gd name="T28" fmla="*/ 486 w 302"/>
                <a:gd name="T29" fmla="*/ 207 h 148"/>
                <a:gd name="T30" fmla="*/ 523 w 302"/>
                <a:gd name="T31" fmla="*/ 215 h 148"/>
                <a:gd name="T32" fmla="*/ 523 w 302"/>
                <a:gd name="T33" fmla="*/ 184 h 148"/>
                <a:gd name="T34" fmla="*/ 516 w 302"/>
                <a:gd name="T35" fmla="*/ 164 h 148"/>
                <a:gd name="T36" fmla="*/ 499 w 302"/>
                <a:gd name="T37" fmla="*/ 106 h 148"/>
                <a:gd name="T38" fmla="*/ 577 w 302"/>
                <a:gd name="T39" fmla="*/ 76 h 148"/>
                <a:gd name="T40" fmla="*/ 593 w 302"/>
                <a:gd name="T41" fmla="*/ 50 h 148"/>
                <a:gd name="T42" fmla="*/ 661 w 302"/>
                <a:gd name="T43" fmla="*/ 47 h 148"/>
                <a:gd name="T44" fmla="*/ 700 w 302"/>
                <a:gd name="T45" fmla="*/ 56 h 148"/>
                <a:gd name="T46" fmla="*/ 770 w 302"/>
                <a:gd name="T47" fmla="*/ 50 h 148"/>
                <a:gd name="T48" fmla="*/ 905 w 302"/>
                <a:gd name="T49" fmla="*/ 21 h 148"/>
                <a:gd name="T50" fmla="*/ 1070 w 302"/>
                <a:gd name="T51" fmla="*/ 26 h 148"/>
                <a:gd name="T52" fmla="*/ 1106 w 302"/>
                <a:gd name="T53" fmla="*/ 47 h 148"/>
                <a:gd name="T54" fmla="*/ 1100 w 302"/>
                <a:gd name="T55" fmla="*/ 91 h 148"/>
                <a:gd name="T56" fmla="*/ 1160 w 302"/>
                <a:gd name="T57" fmla="*/ 143 h 148"/>
                <a:gd name="T58" fmla="*/ 1121 w 302"/>
                <a:gd name="T59" fmla="*/ 189 h 148"/>
                <a:gd name="T60" fmla="*/ 1060 w 302"/>
                <a:gd name="T61" fmla="*/ 184 h 148"/>
                <a:gd name="T62" fmla="*/ 1023 w 302"/>
                <a:gd name="T63" fmla="*/ 195 h 148"/>
                <a:gd name="T64" fmla="*/ 1060 w 302"/>
                <a:gd name="T65" fmla="*/ 209 h 148"/>
                <a:gd name="T66" fmla="*/ 1028 w 302"/>
                <a:gd name="T67" fmla="*/ 229 h 148"/>
                <a:gd name="T68" fmla="*/ 1038 w 302"/>
                <a:gd name="T69" fmla="*/ 267 h 148"/>
                <a:gd name="T70" fmla="*/ 1008 w 302"/>
                <a:gd name="T71" fmla="*/ 306 h 148"/>
                <a:gd name="T72" fmla="*/ 964 w 302"/>
                <a:gd name="T73" fmla="*/ 334 h 148"/>
                <a:gd name="T74" fmla="*/ 884 w 302"/>
                <a:gd name="T75" fmla="*/ 347 h 148"/>
                <a:gd name="T76" fmla="*/ 792 w 302"/>
                <a:gd name="T77" fmla="*/ 347 h 148"/>
                <a:gd name="T78" fmla="*/ 732 w 302"/>
                <a:gd name="T79" fmla="*/ 366 h 148"/>
                <a:gd name="T80" fmla="*/ 675 w 302"/>
                <a:gd name="T81" fmla="*/ 362 h 148"/>
                <a:gd name="T82" fmla="*/ 577 w 302"/>
                <a:gd name="T83" fmla="*/ 351 h 148"/>
                <a:gd name="T84" fmla="*/ 429 w 302"/>
                <a:gd name="T85" fmla="*/ 332 h 148"/>
                <a:gd name="T86" fmla="*/ 382 w 302"/>
                <a:gd name="T87" fmla="*/ 297 h 148"/>
                <a:gd name="T88" fmla="*/ 332 w 302"/>
                <a:gd name="T89" fmla="*/ 290 h 148"/>
                <a:gd name="T90" fmla="*/ 275 w 302"/>
                <a:gd name="T91" fmla="*/ 290 h 148"/>
                <a:gd name="T92" fmla="*/ 244 w 302"/>
                <a:gd name="T93" fmla="*/ 290 h 148"/>
                <a:gd name="T94" fmla="*/ 185 w 302"/>
                <a:gd name="T95" fmla="*/ 316 h 148"/>
                <a:gd name="T96" fmla="*/ 138 w 302"/>
                <a:gd name="T97" fmla="*/ 290 h 148"/>
                <a:gd name="T98" fmla="*/ 94 w 302"/>
                <a:gd name="T99" fmla="*/ 306 h 148"/>
                <a:gd name="T100" fmla="*/ 56 w 302"/>
                <a:gd name="T101" fmla="*/ 283 h 148"/>
                <a:gd name="T102" fmla="*/ 16 w 302"/>
                <a:gd name="T103" fmla="*/ 267 h 148"/>
                <a:gd name="T104" fmla="*/ 16 w 302"/>
                <a:gd name="T105" fmla="*/ 229 h 148"/>
                <a:gd name="T106" fmla="*/ 10 w 302"/>
                <a:gd name="T107" fmla="*/ 207 h 1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02"/>
                <a:gd name="T163" fmla="*/ 0 h 148"/>
                <a:gd name="T164" fmla="*/ 302 w 302"/>
                <a:gd name="T165" fmla="*/ 148 h 14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02" h="148">
                  <a:moveTo>
                    <a:pt x="2" y="80"/>
                  </a:moveTo>
                  <a:lnTo>
                    <a:pt x="8" y="82"/>
                  </a:lnTo>
                  <a:lnTo>
                    <a:pt x="12" y="78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8" y="84"/>
                  </a:lnTo>
                  <a:lnTo>
                    <a:pt x="22" y="86"/>
                  </a:lnTo>
                  <a:lnTo>
                    <a:pt x="22" y="90"/>
                  </a:lnTo>
                  <a:lnTo>
                    <a:pt x="26" y="90"/>
                  </a:lnTo>
                  <a:lnTo>
                    <a:pt x="26" y="96"/>
                  </a:lnTo>
                  <a:lnTo>
                    <a:pt x="28" y="96"/>
                  </a:lnTo>
                  <a:lnTo>
                    <a:pt x="36" y="88"/>
                  </a:lnTo>
                  <a:lnTo>
                    <a:pt x="36" y="80"/>
                  </a:lnTo>
                  <a:lnTo>
                    <a:pt x="40" y="80"/>
                  </a:lnTo>
                  <a:lnTo>
                    <a:pt x="44" y="80"/>
                  </a:lnTo>
                  <a:lnTo>
                    <a:pt x="52" y="82"/>
                  </a:lnTo>
                  <a:lnTo>
                    <a:pt x="54" y="86"/>
                  </a:lnTo>
                  <a:lnTo>
                    <a:pt x="56" y="90"/>
                  </a:lnTo>
                  <a:lnTo>
                    <a:pt x="66" y="90"/>
                  </a:lnTo>
                  <a:lnTo>
                    <a:pt x="72" y="86"/>
                  </a:lnTo>
                  <a:lnTo>
                    <a:pt x="74" y="82"/>
                  </a:lnTo>
                  <a:lnTo>
                    <a:pt x="78" y="82"/>
                  </a:lnTo>
                  <a:lnTo>
                    <a:pt x="80" y="78"/>
                  </a:lnTo>
                  <a:lnTo>
                    <a:pt x="102" y="78"/>
                  </a:lnTo>
                  <a:lnTo>
                    <a:pt x="104" y="72"/>
                  </a:lnTo>
                  <a:lnTo>
                    <a:pt x="112" y="72"/>
                  </a:lnTo>
                  <a:lnTo>
                    <a:pt x="114" y="76"/>
                  </a:lnTo>
                  <a:lnTo>
                    <a:pt x="124" y="74"/>
                  </a:lnTo>
                  <a:lnTo>
                    <a:pt x="128" y="76"/>
                  </a:lnTo>
                  <a:lnTo>
                    <a:pt x="126" y="80"/>
                  </a:lnTo>
                  <a:lnTo>
                    <a:pt x="134" y="86"/>
                  </a:lnTo>
                  <a:lnTo>
                    <a:pt x="136" y="84"/>
                  </a:lnTo>
                  <a:lnTo>
                    <a:pt x="136" y="76"/>
                  </a:lnTo>
                  <a:lnTo>
                    <a:pt x="136" y="72"/>
                  </a:lnTo>
                  <a:lnTo>
                    <a:pt x="130" y="70"/>
                  </a:lnTo>
                  <a:lnTo>
                    <a:pt x="134" y="64"/>
                  </a:lnTo>
                  <a:lnTo>
                    <a:pt x="124" y="48"/>
                  </a:lnTo>
                  <a:lnTo>
                    <a:pt x="130" y="42"/>
                  </a:lnTo>
                  <a:lnTo>
                    <a:pt x="148" y="34"/>
                  </a:lnTo>
                  <a:lnTo>
                    <a:pt x="150" y="30"/>
                  </a:lnTo>
                  <a:lnTo>
                    <a:pt x="150" y="22"/>
                  </a:lnTo>
                  <a:lnTo>
                    <a:pt x="154" y="20"/>
                  </a:lnTo>
                  <a:lnTo>
                    <a:pt x="160" y="26"/>
                  </a:lnTo>
                  <a:lnTo>
                    <a:pt x="172" y="18"/>
                  </a:lnTo>
                  <a:lnTo>
                    <a:pt x="174" y="18"/>
                  </a:lnTo>
                  <a:lnTo>
                    <a:pt x="182" y="22"/>
                  </a:lnTo>
                  <a:lnTo>
                    <a:pt x="190" y="24"/>
                  </a:lnTo>
                  <a:lnTo>
                    <a:pt x="200" y="20"/>
                  </a:lnTo>
                  <a:lnTo>
                    <a:pt x="212" y="0"/>
                  </a:lnTo>
                  <a:lnTo>
                    <a:pt x="236" y="8"/>
                  </a:lnTo>
                  <a:lnTo>
                    <a:pt x="254" y="14"/>
                  </a:lnTo>
                  <a:lnTo>
                    <a:pt x="278" y="10"/>
                  </a:lnTo>
                  <a:lnTo>
                    <a:pt x="286" y="16"/>
                  </a:lnTo>
                  <a:lnTo>
                    <a:pt x="288" y="18"/>
                  </a:lnTo>
                  <a:lnTo>
                    <a:pt x="288" y="20"/>
                  </a:lnTo>
                  <a:lnTo>
                    <a:pt x="286" y="36"/>
                  </a:lnTo>
                  <a:lnTo>
                    <a:pt x="290" y="42"/>
                  </a:lnTo>
                  <a:lnTo>
                    <a:pt x="302" y="56"/>
                  </a:lnTo>
                  <a:lnTo>
                    <a:pt x="292" y="64"/>
                  </a:lnTo>
                  <a:lnTo>
                    <a:pt x="292" y="74"/>
                  </a:lnTo>
                  <a:lnTo>
                    <a:pt x="280" y="74"/>
                  </a:lnTo>
                  <a:lnTo>
                    <a:pt x="276" y="72"/>
                  </a:lnTo>
                  <a:lnTo>
                    <a:pt x="270" y="72"/>
                  </a:lnTo>
                  <a:lnTo>
                    <a:pt x="266" y="76"/>
                  </a:lnTo>
                  <a:lnTo>
                    <a:pt x="274" y="78"/>
                  </a:lnTo>
                  <a:lnTo>
                    <a:pt x="276" y="82"/>
                  </a:lnTo>
                  <a:lnTo>
                    <a:pt x="274" y="88"/>
                  </a:lnTo>
                  <a:lnTo>
                    <a:pt x="268" y="90"/>
                  </a:lnTo>
                  <a:lnTo>
                    <a:pt x="266" y="100"/>
                  </a:lnTo>
                  <a:lnTo>
                    <a:pt x="270" y="104"/>
                  </a:lnTo>
                  <a:lnTo>
                    <a:pt x="268" y="112"/>
                  </a:lnTo>
                  <a:lnTo>
                    <a:pt x="262" y="120"/>
                  </a:lnTo>
                  <a:lnTo>
                    <a:pt x="250" y="124"/>
                  </a:lnTo>
                  <a:lnTo>
                    <a:pt x="250" y="132"/>
                  </a:lnTo>
                  <a:lnTo>
                    <a:pt x="236" y="130"/>
                  </a:lnTo>
                  <a:lnTo>
                    <a:pt x="230" y="136"/>
                  </a:lnTo>
                  <a:lnTo>
                    <a:pt x="216" y="132"/>
                  </a:lnTo>
                  <a:lnTo>
                    <a:pt x="206" y="136"/>
                  </a:lnTo>
                  <a:lnTo>
                    <a:pt x="194" y="148"/>
                  </a:lnTo>
                  <a:lnTo>
                    <a:pt x="190" y="144"/>
                  </a:lnTo>
                  <a:lnTo>
                    <a:pt x="180" y="144"/>
                  </a:lnTo>
                  <a:lnTo>
                    <a:pt x="176" y="142"/>
                  </a:lnTo>
                  <a:lnTo>
                    <a:pt x="158" y="140"/>
                  </a:lnTo>
                  <a:lnTo>
                    <a:pt x="150" y="138"/>
                  </a:lnTo>
                  <a:lnTo>
                    <a:pt x="134" y="136"/>
                  </a:lnTo>
                  <a:lnTo>
                    <a:pt x="112" y="130"/>
                  </a:lnTo>
                  <a:lnTo>
                    <a:pt x="106" y="120"/>
                  </a:lnTo>
                  <a:lnTo>
                    <a:pt x="100" y="116"/>
                  </a:lnTo>
                  <a:lnTo>
                    <a:pt x="100" y="108"/>
                  </a:lnTo>
                  <a:lnTo>
                    <a:pt x="86" y="114"/>
                  </a:lnTo>
                  <a:lnTo>
                    <a:pt x="80" y="110"/>
                  </a:lnTo>
                  <a:lnTo>
                    <a:pt x="72" y="114"/>
                  </a:lnTo>
                  <a:lnTo>
                    <a:pt x="70" y="112"/>
                  </a:lnTo>
                  <a:lnTo>
                    <a:pt x="64" y="114"/>
                  </a:lnTo>
                  <a:lnTo>
                    <a:pt x="58" y="124"/>
                  </a:lnTo>
                  <a:lnTo>
                    <a:pt x="48" y="124"/>
                  </a:lnTo>
                  <a:lnTo>
                    <a:pt x="36" y="120"/>
                  </a:lnTo>
                  <a:lnTo>
                    <a:pt x="36" y="114"/>
                  </a:lnTo>
                  <a:lnTo>
                    <a:pt x="34" y="112"/>
                  </a:lnTo>
                  <a:lnTo>
                    <a:pt x="24" y="120"/>
                  </a:lnTo>
                  <a:lnTo>
                    <a:pt x="14" y="114"/>
                  </a:lnTo>
                  <a:lnTo>
                    <a:pt x="14" y="110"/>
                  </a:lnTo>
                  <a:lnTo>
                    <a:pt x="2" y="108"/>
                  </a:lnTo>
                  <a:lnTo>
                    <a:pt x="4" y="104"/>
                  </a:lnTo>
                  <a:lnTo>
                    <a:pt x="0" y="96"/>
                  </a:lnTo>
                  <a:lnTo>
                    <a:pt x="4" y="90"/>
                  </a:lnTo>
                  <a:lnTo>
                    <a:pt x="2" y="80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1" name="Freeform 29">
              <a:extLst>
                <a:ext uri="{FF2B5EF4-FFF2-40B4-BE49-F238E27FC236}">
                  <a16:creationId xmlns:a16="http://schemas.microsoft.com/office/drawing/2014/main" id="{B2B8BBF4-A4DB-41B0-8841-4E706AC7FF32}"/>
                </a:ext>
              </a:extLst>
            </p:cNvPr>
            <p:cNvSpPr>
              <a:spLocks/>
            </p:cNvSpPr>
            <p:nvPr/>
          </p:nvSpPr>
          <p:spPr bwMode="gray">
            <a:xfrm>
              <a:off x="5424488" y="4686300"/>
              <a:ext cx="433387" cy="247650"/>
            </a:xfrm>
            <a:custGeom>
              <a:avLst/>
              <a:gdLst>
                <a:gd name="T0" fmla="*/ 387 w 260"/>
                <a:gd name="T1" fmla="*/ 388 h 160"/>
                <a:gd name="T2" fmla="*/ 350 w 260"/>
                <a:gd name="T3" fmla="*/ 403 h 160"/>
                <a:gd name="T4" fmla="*/ 318 w 260"/>
                <a:gd name="T5" fmla="*/ 403 h 160"/>
                <a:gd name="T6" fmla="*/ 270 w 260"/>
                <a:gd name="T7" fmla="*/ 408 h 160"/>
                <a:gd name="T8" fmla="*/ 231 w 260"/>
                <a:gd name="T9" fmla="*/ 403 h 160"/>
                <a:gd name="T10" fmla="*/ 157 w 260"/>
                <a:gd name="T11" fmla="*/ 358 h 160"/>
                <a:gd name="T12" fmla="*/ 57 w 260"/>
                <a:gd name="T13" fmla="*/ 321 h 160"/>
                <a:gd name="T14" fmla="*/ 39 w 260"/>
                <a:gd name="T15" fmla="*/ 306 h 160"/>
                <a:gd name="T16" fmla="*/ 16 w 260"/>
                <a:gd name="T17" fmla="*/ 285 h 160"/>
                <a:gd name="T18" fmla="*/ 0 w 260"/>
                <a:gd name="T19" fmla="*/ 250 h 160"/>
                <a:gd name="T20" fmla="*/ 25 w 260"/>
                <a:gd name="T21" fmla="*/ 229 h 160"/>
                <a:gd name="T22" fmla="*/ 31 w 260"/>
                <a:gd name="T23" fmla="*/ 209 h 160"/>
                <a:gd name="T24" fmla="*/ 16 w 260"/>
                <a:gd name="T25" fmla="*/ 198 h 160"/>
                <a:gd name="T26" fmla="*/ 25 w 260"/>
                <a:gd name="T27" fmla="*/ 172 h 160"/>
                <a:gd name="T28" fmla="*/ 48 w 260"/>
                <a:gd name="T29" fmla="*/ 168 h 160"/>
                <a:gd name="T30" fmla="*/ 57 w 260"/>
                <a:gd name="T31" fmla="*/ 153 h 160"/>
                <a:gd name="T32" fmla="*/ 48 w 260"/>
                <a:gd name="T33" fmla="*/ 143 h 160"/>
                <a:gd name="T34" fmla="*/ 16 w 260"/>
                <a:gd name="T35" fmla="*/ 138 h 160"/>
                <a:gd name="T36" fmla="*/ 31 w 260"/>
                <a:gd name="T37" fmla="*/ 126 h 160"/>
                <a:gd name="T38" fmla="*/ 57 w 260"/>
                <a:gd name="T39" fmla="*/ 126 h 160"/>
                <a:gd name="T40" fmla="*/ 72 w 260"/>
                <a:gd name="T41" fmla="*/ 132 h 160"/>
                <a:gd name="T42" fmla="*/ 118 w 260"/>
                <a:gd name="T43" fmla="*/ 132 h 160"/>
                <a:gd name="T44" fmla="*/ 118 w 260"/>
                <a:gd name="T45" fmla="*/ 106 h 160"/>
                <a:gd name="T46" fmla="*/ 157 w 260"/>
                <a:gd name="T47" fmla="*/ 88 h 160"/>
                <a:gd name="T48" fmla="*/ 172 w 260"/>
                <a:gd name="T49" fmla="*/ 76 h 160"/>
                <a:gd name="T50" fmla="*/ 206 w 260"/>
                <a:gd name="T51" fmla="*/ 88 h 160"/>
                <a:gd name="T52" fmla="*/ 245 w 260"/>
                <a:gd name="T53" fmla="*/ 103 h 160"/>
                <a:gd name="T54" fmla="*/ 278 w 260"/>
                <a:gd name="T55" fmla="*/ 103 h 160"/>
                <a:gd name="T56" fmla="*/ 387 w 260"/>
                <a:gd name="T57" fmla="*/ 106 h 160"/>
                <a:gd name="T58" fmla="*/ 415 w 260"/>
                <a:gd name="T59" fmla="*/ 65 h 160"/>
                <a:gd name="T60" fmla="*/ 428 w 260"/>
                <a:gd name="T61" fmla="*/ 65 h 160"/>
                <a:gd name="T62" fmla="*/ 479 w 260"/>
                <a:gd name="T63" fmla="*/ 56 h 160"/>
                <a:gd name="T64" fmla="*/ 516 w 260"/>
                <a:gd name="T65" fmla="*/ 56 h 160"/>
                <a:gd name="T66" fmla="*/ 553 w 260"/>
                <a:gd name="T67" fmla="*/ 56 h 160"/>
                <a:gd name="T68" fmla="*/ 585 w 260"/>
                <a:gd name="T69" fmla="*/ 56 h 160"/>
                <a:gd name="T70" fmla="*/ 658 w 260"/>
                <a:gd name="T71" fmla="*/ 2 h 160"/>
                <a:gd name="T72" fmla="*/ 706 w 260"/>
                <a:gd name="T73" fmla="*/ 0 h 160"/>
                <a:gd name="T74" fmla="*/ 779 w 260"/>
                <a:gd name="T75" fmla="*/ 0 h 160"/>
                <a:gd name="T76" fmla="*/ 816 w 260"/>
                <a:gd name="T77" fmla="*/ 21 h 160"/>
                <a:gd name="T78" fmla="*/ 841 w 260"/>
                <a:gd name="T79" fmla="*/ 30 h 160"/>
                <a:gd name="T80" fmla="*/ 888 w 260"/>
                <a:gd name="T81" fmla="*/ 26 h 160"/>
                <a:gd name="T82" fmla="*/ 894 w 260"/>
                <a:gd name="T83" fmla="*/ 26 h 160"/>
                <a:gd name="T84" fmla="*/ 941 w 260"/>
                <a:gd name="T85" fmla="*/ 47 h 160"/>
                <a:gd name="T86" fmla="*/ 981 w 260"/>
                <a:gd name="T87" fmla="*/ 63 h 160"/>
                <a:gd name="T88" fmla="*/ 1028 w 260"/>
                <a:gd name="T89" fmla="*/ 88 h 160"/>
                <a:gd name="T90" fmla="*/ 999 w 260"/>
                <a:gd name="T91" fmla="*/ 106 h 160"/>
                <a:gd name="T92" fmla="*/ 919 w 260"/>
                <a:gd name="T93" fmla="*/ 122 h 160"/>
                <a:gd name="T94" fmla="*/ 878 w 260"/>
                <a:gd name="T95" fmla="*/ 153 h 160"/>
                <a:gd name="T96" fmla="*/ 816 w 260"/>
                <a:gd name="T97" fmla="*/ 244 h 160"/>
                <a:gd name="T98" fmla="*/ 767 w 260"/>
                <a:gd name="T99" fmla="*/ 300 h 160"/>
                <a:gd name="T100" fmla="*/ 719 w 260"/>
                <a:gd name="T101" fmla="*/ 334 h 160"/>
                <a:gd name="T102" fmla="*/ 696 w 260"/>
                <a:gd name="T103" fmla="*/ 347 h 160"/>
                <a:gd name="T104" fmla="*/ 643 w 260"/>
                <a:gd name="T105" fmla="*/ 347 h 160"/>
                <a:gd name="T106" fmla="*/ 625 w 260"/>
                <a:gd name="T107" fmla="*/ 358 h 160"/>
                <a:gd name="T108" fmla="*/ 610 w 260"/>
                <a:gd name="T109" fmla="*/ 358 h 160"/>
                <a:gd name="T110" fmla="*/ 553 w 260"/>
                <a:gd name="T111" fmla="*/ 351 h 160"/>
                <a:gd name="T112" fmla="*/ 492 w 260"/>
                <a:gd name="T113" fmla="*/ 358 h 160"/>
                <a:gd name="T114" fmla="*/ 387 w 260"/>
                <a:gd name="T115" fmla="*/ 388 h 160"/>
                <a:gd name="T116" fmla="*/ 387 w 260"/>
                <a:gd name="T117" fmla="*/ 388 h 16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60"/>
                <a:gd name="T178" fmla="*/ 0 h 160"/>
                <a:gd name="T179" fmla="*/ 260 w 260"/>
                <a:gd name="T180" fmla="*/ 160 h 16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60" h="160">
                  <a:moveTo>
                    <a:pt x="98" y="152"/>
                  </a:moveTo>
                  <a:lnTo>
                    <a:pt x="88" y="158"/>
                  </a:lnTo>
                  <a:lnTo>
                    <a:pt x="80" y="158"/>
                  </a:lnTo>
                  <a:lnTo>
                    <a:pt x="68" y="160"/>
                  </a:lnTo>
                  <a:lnTo>
                    <a:pt x="58" y="158"/>
                  </a:lnTo>
                  <a:lnTo>
                    <a:pt x="40" y="140"/>
                  </a:lnTo>
                  <a:lnTo>
                    <a:pt x="14" y="126"/>
                  </a:lnTo>
                  <a:lnTo>
                    <a:pt x="10" y="120"/>
                  </a:lnTo>
                  <a:lnTo>
                    <a:pt x="4" y="112"/>
                  </a:lnTo>
                  <a:lnTo>
                    <a:pt x="0" y="98"/>
                  </a:lnTo>
                  <a:lnTo>
                    <a:pt x="6" y="90"/>
                  </a:lnTo>
                  <a:lnTo>
                    <a:pt x="8" y="82"/>
                  </a:lnTo>
                  <a:lnTo>
                    <a:pt x="4" y="78"/>
                  </a:lnTo>
                  <a:lnTo>
                    <a:pt x="6" y="68"/>
                  </a:lnTo>
                  <a:lnTo>
                    <a:pt x="12" y="66"/>
                  </a:lnTo>
                  <a:lnTo>
                    <a:pt x="14" y="60"/>
                  </a:lnTo>
                  <a:lnTo>
                    <a:pt x="12" y="56"/>
                  </a:lnTo>
                  <a:lnTo>
                    <a:pt x="4" y="54"/>
                  </a:lnTo>
                  <a:lnTo>
                    <a:pt x="8" y="50"/>
                  </a:lnTo>
                  <a:lnTo>
                    <a:pt x="14" y="50"/>
                  </a:lnTo>
                  <a:lnTo>
                    <a:pt x="18" y="52"/>
                  </a:lnTo>
                  <a:lnTo>
                    <a:pt x="30" y="52"/>
                  </a:lnTo>
                  <a:lnTo>
                    <a:pt x="30" y="42"/>
                  </a:lnTo>
                  <a:lnTo>
                    <a:pt x="40" y="34"/>
                  </a:lnTo>
                  <a:lnTo>
                    <a:pt x="44" y="30"/>
                  </a:lnTo>
                  <a:lnTo>
                    <a:pt x="52" y="34"/>
                  </a:lnTo>
                  <a:lnTo>
                    <a:pt x="62" y="40"/>
                  </a:lnTo>
                  <a:lnTo>
                    <a:pt x="70" y="40"/>
                  </a:lnTo>
                  <a:lnTo>
                    <a:pt x="98" y="42"/>
                  </a:lnTo>
                  <a:lnTo>
                    <a:pt x="104" y="26"/>
                  </a:lnTo>
                  <a:lnTo>
                    <a:pt x="108" y="26"/>
                  </a:lnTo>
                  <a:lnTo>
                    <a:pt x="122" y="22"/>
                  </a:lnTo>
                  <a:lnTo>
                    <a:pt x="130" y="22"/>
                  </a:lnTo>
                  <a:lnTo>
                    <a:pt x="140" y="22"/>
                  </a:lnTo>
                  <a:lnTo>
                    <a:pt x="148" y="22"/>
                  </a:lnTo>
                  <a:lnTo>
                    <a:pt x="166" y="2"/>
                  </a:lnTo>
                  <a:lnTo>
                    <a:pt x="178" y="0"/>
                  </a:lnTo>
                  <a:lnTo>
                    <a:pt x="196" y="0"/>
                  </a:lnTo>
                  <a:lnTo>
                    <a:pt x="206" y="8"/>
                  </a:lnTo>
                  <a:lnTo>
                    <a:pt x="212" y="12"/>
                  </a:lnTo>
                  <a:lnTo>
                    <a:pt x="224" y="10"/>
                  </a:lnTo>
                  <a:lnTo>
                    <a:pt x="226" y="10"/>
                  </a:lnTo>
                  <a:lnTo>
                    <a:pt x="238" y="18"/>
                  </a:lnTo>
                  <a:lnTo>
                    <a:pt x="248" y="24"/>
                  </a:lnTo>
                  <a:lnTo>
                    <a:pt x="260" y="34"/>
                  </a:lnTo>
                  <a:lnTo>
                    <a:pt x="252" y="42"/>
                  </a:lnTo>
                  <a:lnTo>
                    <a:pt x="232" y="48"/>
                  </a:lnTo>
                  <a:lnTo>
                    <a:pt x="222" y="60"/>
                  </a:lnTo>
                  <a:lnTo>
                    <a:pt x="206" y="96"/>
                  </a:lnTo>
                  <a:lnTo>
                    <a:pt x="194" y="118"/>
                  </a:lnTo>
                  <a:lnTo>
                    <a:pt x="182" y="132"/>
                  </a:lnTo>
                  <a:lnTo>
                    <a:pt x="176" y="136"/>
                  </a:lnTo>
                  <a:lnTo>
                    <a:pt x="162" y="136"/>
                  </a:lnTo>
                  <a:lnTo>
                    <a:pt x="158" y="140"/>
                  </a:lnTo>
                  <a:lnTo>
                    <a:pt x="154" y="140"/>
                  </a:lnTo>
                  <a:lnTo>
                    <a:pt x="140" y="138"/>
                  </a:lnTo>
                  <a:lnTo>
                    <a:pt x="124" y="140"/>
                  </a:lnTo>
                  <a:lnTo>
                    <a:pt x="98" y="152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AF9215EC-2FC0-4CA9-99D8-463207CA62E1}"/>
                </a:ext>
              </a:extLst>
            </p:cNvPr>
            <p:cNvSpPr>
              <a:spLocks/>
            </p:cNvSpPr>
            <p:nvPr/>
          </p:nvSpPr>
          <p:spPr bwMode="gray">
            <a:xfrm>
              <a:off x="5683250" y="4713288"/>
              <a:ext cx="600075" cy="387350"/>
            </a:xfrm>
            <a:custGeom>
              <a:avLst/>
              <a:gdLst>
                <a:gd name="T0" fmla="*/ 16 w 362"/>
                <a:gd name="T1" fmla="*/ 318 h 250"/>
                <a:gd name="T2" fmla="*/ 86 w 362"/>
                <a:gd name="T3" fmla="*/ 306 h 250"/>
                <a:gd name="T4" fmla="*/ 155 w 362"/>
                <a:gd name="T5" fmla="*/ 260 h 250"/>
                <a:gd name="T6" fmla="*/ 260 w 362"/>
                <a:gd name="T7" fmla="*/ 109 h 250"/>
                <a:gd name="T8" fmla="*/ 379 w 362"/>
                <a:gd name="T9" fmla="*/ 63 h 250"/>
                <a:gd name="T10" fmla="*/ 413 w 362"/>
                <a:gd name="T11" fmla="*/ 35 h 250"/>
                <a:gd name="T12" fmla="*/ 486 w 362"/>
                <a:gd name="T13" fmla="*/ 35 h 250"/>
                <a:gd name="T14" fmla="*/ 623 w 362"/>
                <a:gd name="T15" fmla="*/ 53 h 250"/>
                <a:gd name="T16" fmla="*/ 646 w 362"/>
                <a:gd name="T17" fmla="*/ 66 h 250"/>
                <a:gd name="T18" fmla="*/ 673 w 362"/>
                <a:gd name="T19" fmla="*/ 77 h 250"/>
                <a:gd name="T20" fmla="*/ 716 w 362"/>
                <a:gd name="T21" fmla="*/ 66 h 250"/>
                <a:gd name="T22" fmla="*/ 858 w 362"/>
                <a:gd name="T23" fmla="*/ 41 h 250"/>
                <a:gd name="T24" fmla="*/ 890 w 362"/>
                <a:gd name="T25" fmla="*/ 2 h 250"/>
                <a:gd name="T26" fmla="*/ 945 w 362"/>
                <a:gd name="T27" fmla="*/ 0 h 250"/>
                <a:gd name="T28" fmla="*/ 1036 w 362"/>
                <a:gd name="T29" fmla="*/ 93 h 250"/>
                <a:gd name="T30" fmla="*/ 1151 w 362"/>
                <a:gd name="T31" fmla="*/ 185 h 250"/>
                <a:gd name="T32" fmla="*/ 1169 w 362"/>
                <a:gd name="T33" fmla="*/ 265 h 250"/>
                <a:gd name="T34" fmla="*/ 1160 w 362"/>
                <a:gd name="T35" fmla="*/ 368 h 250"/>
                <a:gd name="T36" fmla="*/ 1145 w 362"/>
                <a:gd name="T37" fmla="*/ 388 h 250"/>
                <a:gd name="T38" fmla="*/ 1169 w 362"/>
                <a:gd name="T39" fmla="*/ 409 h 250"/>
                <a:gd name="T40" fmla="*/ 1175 w 362"/>
                <a:gd name="T41" fmla="*/ 409 h 250"/>
                <a:gd name="T42" fmla="*/ 1210 w 362"/>
                <a:gd name="T43" fmla="*/ 437 h 250"/>
                <a:gd name="T44" fmla="*/ 1253 w 362"/>
                <a:gd name="T45" fmla="*/ 424 h 250"/>
                <a:gd name="T46" fmla="*/ 1328 w 362"/>
                <a:gd name="T47" fmla="*/ 409 h 250"/>
                <a:gd name="T48" fmla="*/ 1382 w 362"/>
                <a:gd name="T49" fmla="*/ 421 h 250"/>
                <a:gd name="T50" fmla="*/ 1365 w 362"/>
                <a:gd name="T51" fmla="*/ 465 h 250"/>
                <a:gd name="T52" fmla="*/ 1319 w 362"/>
                <a:gd name="T53" fmla="*/ 493 h 250"/>
                <a:gd name="T54" fmla="*/ 1271 w 362"/>
                <a:gd name="T55" fmla="*/ 509 h 250"/>
                <a:gd name="T56" fmla="*/ 1221 w 362"/>
                <a:gd name="T57" fmla="*/ 586 h 250"/>
                <a:gd name="T58" fmla="*/ 1210 w 362"/>
                <a:gd name="T59" fmla="*/ 647 h 250"/>
                <a:gd name="T60" fmla="*/ 1074 w 362"/>
                <a:gd name="T61" fmla="*/ 621 h 250"/>
                <a:gd name="T62" fmla="*/ 1022 w 362"/>
                <a:gd name="T63" fmla="*/ 606 h 250"/>
                <a:gd name="T64" fmla="*/ 945 w 362"/>
                <a:gd name="T65" fmla="*/ 581 h 250"/>
                <a:gd name="T66" fmla="*/ 778 w 362"/>
                <a:gd name="T67" fmla="*/ 645 h 250"/>
                <a:gd name="T68" fmla="*/ 661 w 362"/>
                <a:gd name="T69" fmla="*/ 621 h 250"/>
                <a:gd name="T70" fmla="*/ 593 w 362"/>
                <a:gd name="T71" fmla="*/ 638 h 250"/>
                <a:gd name="T72" fmla="*/ 491 w 362"/>
                <a:gd name="T73" fmla="*/ 616 h 250"/>
                <a:gd name="T74" fmla="*/ 407 w 362"/>
                <a:gd name="T75" fmla="*/ 628 h 250"/>
                <a:gd name="T76" fmla="*/ 392 w 362"/>
                <a:gd name="T77" fmla="*/ 616 h 250"/>
                <a:gd name="T78" fmla="*/ 382 w 362"/>
                <a:gd name="T79" fmla="*/ 591 h 250"/>
                <a:gd name="T80" fmla="*/ 322 w 362"/>
                <a:gd name="T81" fmla="*/ 564 h 250"/>
                <a:gd name="T82" fmla="*/ 338 w 362"/>
                <a:gd name="T83" fmla="*/ 533 h 250"/>
                <a:gd name="T84" fmla="*/ 353 w 362"/>
                <a:gd name="T85" fmla="*/ 527 h 250"/>
                <a:gd name="T86" fmla="*/ 303 w 362"/>
                <a:gd name="T87" fmla="*/ 517 h 250"/>
                <a:gd name="T88" fmla="*/ 275 w 362"/>
                <a:gd name="T89" fmla="*/ 544 h 250"/>
                <a:gd name="T90" fmla="*/ 232 w 362"/>
                <a:gd name="T91" fmla="*/ 517 h 250"/>
                <a:gd name="T92" fmla="*/ 194 w 362"/>
                <a:gd name="T93" fmla="*/ 503 h 250"/>
                <a:gd name="T94" fmla="*/ 163 w 362"/>
                <a:gd name="T95" fmla="*/ 503 h 250"/>
                <a:gd name="T96" fmla="*/ 169 w 362"/>
                <a:gd name="T97" fmla="*/ 486 h 250"/>
                <a:gd name="T98" fmla="*/ 169 w 362"/>
                <a:gd name="T99" fmla="*/ 478 h 250"/>
                <a:gd name="T100" fmla="*/ 169 w 362"/>
                <a:gd name="T101" fmla="*/ 462 h 250"/>
                <a:gd name="T102" fmla="*/ 179 w 362"/>
                <a:gd name="T103" fmla="*/ 448 h 250"/>
                <a:gd name="T104" fmla="*/ 118 w 362"/>
                <a:gd name="T105" fmla="*/ 431 h 250"/>
                <a:gd name="T106" fmla="*/ 76 w 362"/>
                <a:gd name="T107" fmla="*/ 394 h 250"/>
                <a:gd name="T108" fmla="*/ 70 w 362"/>
                <a:gd name="T109" fmla="*/ 362 h 250"/>
                <a:gd name="T110" fmla="*/ 48 w 362"/>
                <a:gd name="T111" fmla="*/ 348 h 250"/>
                <a:gd name="T112" fmla="*/ 0 w 362"/>
                <a:gd name="T113" fmla="*/ 318 h 25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62"/>
                <a:gd name="T172" fmla="*/ 0 h 250"/>
                <a:gd name="T173" fmla="*/ 362 w 362"/>
                <a:gd name="T174" fmla="*/ 250 h 25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62" h="250">
                  <a:moveTo>
                    <a:pt x="0" y="122"/>
                  </a:moveTo>
                  <a:lnTo>
                    <a:pt x="4" y="122"/>
                  </a:lnTo>
                  <a:lnTo>
                    <a:pt x="8" y="118"/>
                  </a:lnTo>
                  <a:lnTo>
                    <a:pt x="22" y="118"/>
                  </a:lnTo>
                  <a:lnTo>
                    <a:pt x="28" y="114"/>
                  </a:lnTo>
                  <a:lnTo>
                    <a:pt x="40" y="100"/>
                  </a:lnTo>
                  <a:lnTo>
                    <a:pt x="52" y="78"/>
                  </a:lnTo>
                  <a:lnTo>
                    <a:pt x="68" y="42"/>
                  </a:lnTo>
                  <a:lnTo>
                    <a:pt x="78" y="30"/>
                  </a:lnTo>
                  <a:lnTo>
                    <a:pt x="98" y="24"/>
                  </a:lnTo>
                  <a:lnTo>
                    <a:pt x="106" y="16"/>
                  </a:lnTo>
                  <a:lnTo>
                    <a:pt x="108" y="14"/>
                  </a:lnTo>
                  <a:lnTo>
                    <a:pt x="120" y="16"/>
                  </a:lnTo>
                  <a:lnTo>
                    <a:pt x="126" y="14"/>
                  </a:lnTo>
                  <a:lnTo>
                    <a:pt x="142" y="18"/>
                  </a:lnTo>
                  <a:lnTo>
                    <a:pt x="162" y="20"/>
                  </a:lnTo>
                  <a:lnTo>
                    <a:pt x="168" y="18"/>
                  </a:lnTo>
                  <a:lnTo>
                    <a:pt x="168" y="26"/>
                  </a:lnTo>
                  <a:lnTo>
                    <a:pt x="174" y="26"/>
                  </a:lnTo>
                  <a:lnTo>
                    <a:pt x="176" y="30"/>
                  </a:lnTo>
                  <a:lnTo>
                    <a:pt x="182" y="30"/>
                  </a:lnTo>
                  <a:lnTo>
                    <a:pt x="186" y="26"/>
                  </a:lnTo>
                  <a:lnTo>
                    <a:pt x="190" y="20"/>
                  </a:lnTo>
                  <a:lnTo>
                    <a:pt x="224" y="16"/>
                  </a:lnTo>
                  <a:lnTo>
                    <a:pt x="230" y="12"/>
                  </a:lnTo>
                  <a:lnTo>
                    <a:pt x="232" y="2"/>
                  </a:lnTo>
                  <a:lnTo>
                    <a:pt x="242" y="2"/>
                  </a:lnTo>
                  <a:lnTo>
                    <a:pt x="246" y="0"/>
                  </a:lnTo>
                  <a:lnTo>
                    <a:pt x="258" y="4"/>
                  </a:lnTo>
                  <a:lnTo>
                    <a:pt x="270" y="36"/>
                  </a:lnTo>
                  <a:lnTo>
                    <a:pt x="288" y="64"/>
                  </a:lnTo>
                  <a:lnTo>
                    <a:pt x="300" y="72"/>
                  </a:lnTo>
                  <a:lnTo>
                    <a:pt x="306" y="92"/>
                  </a:lnTo>
                  <a:lnTo>
                    <a:pt x="304" y="102"/>
                  </a:lnTo>
                  <a:lnTo>
                    <a:pt x="300" y="128"/>
                  </a:lnTo>
                  <a:lnTo>
                    <a:pt x="302" y="142"/>
                  </a:lnTo>
                  <a:lnTo>
                    <a:pt x="302" y="148"/>
                  </a:lnTo>
                  <a:lnTo>
                    <a:pt x="298" y="150"/>
                  </a:lnTo>
                  <a:lnTo>
                    <a:pt x="302" y="152"/>
                  </a:lnTo>
                  <a:lnTo>
                    <a:pt x="304" y="158"/>
                  </a:lnTo>
                  <a:lnTo>
                    <a:pt x="306" y="158"/>
                  </a:lnTo>
                  <a:lnTo>
                    <a:pt x="308" y="164"/>
                  </a:lnTo>
                  <a:lnTo>
                    <a:pt x="316" y="168"/>
                  </a:lnTo>
                  <a:lnTo>
                    <a:pt x="326" y="170"/>
                  </a:lnTo>
                  <a:lnTo>
                    <a:pt x="326" y="164"/>
                  </a:lnTo>
                  <a:lnTo>
                    <a:pt x="334" y="164"/>
                  </a:lnTo>
                  <a:lnTo>
                    <a:pt x="346" y="158"/>
                  </a:lnTo>
                  <a:lnTo>
                    <a:pt x="358" y="160"/>
                  </a:lnTo>
                  <a:lnTo>
                    <a:pt x="360" y="162"/>
                  </a:lnTo>
                  <a:lnTo>
                    <a:pt x="362" y="170"/>
                  </a:lnTo>
                  <a:lnTo>
                    <a:pt x="356" y="180"/>
                  </a:lnTo>
                  <a:lnTo>
                    <a:pt x="352" y="188"/>
                  </a:lnTo>
                  <a:lnTo>
                    <a:pt x="344" y="190"/>
                  </a:lnTo>
                  <a:lnTo>
                    <a:pt x="338" y="190"/>
                  </a:lnTo>
                  <a:lnTo>
                    <a:pt x="332" y="196"/>
                  </a:lnTo>
                  <a:lnTo>
                    <a:pt x="322" y="210"/>
                  </a:lnTo>
                  <a:lnTo>
                    <a:pt x="318" y="226"/>
                  </a:lnTo>
                  <a:lnTo>
                    <a:pt x="316" y="246"/>
                  </a:lnTo>
                  <a:lnTo>
                    <a:pt x="316" y="250"/>
                  </a:lnTo>
                  <a:lnTo>
                    <a:pt x="304" y="248"/>
                  </a:lnTo>
                  <a:lnTo>
                    <a:pt x="280" y="240"/>
                  </a:lnTo>
                  <a:lnTo>
                    <a:pt x="272" y="234"/>
                  </a:lnTo>
                  <a:lnTo>
                    <a:pt x="266" y="234"/>
                  </a:lnTo>
                  <a:lnTo>
                    <a:pt x="256" y="224"/>
                  </a:lnTo>
                  <a:lnTo>
                    <a:pt x="246" y="224"/>
                  </a:lnTo>
                  <a:lnTo>
                    <a:pt x="234" y="230"/>
                  </a:lnTo>
                  <a:lnTo>
                    <a:pt x="202" y="248"/>
                  </a:lnTo>
                  <a:lnTo>
                    <a:pt x="196" y="248"/>
                  </a:lnTo>
                  <a:lnTo>
                    <a:pt x="172" y="240"/>
                  </a:lnTo>
                  <a:lnTo>
                    <a:pt x="166" y="240"/>
                  </a:lnTo>
                  <a:lnTo>
                    <a:pt x="154" y="246"/>
                  </a:lnTo>
                  <a:lnTo>
                    <a:pt x="148" y="248"/>
                  </a:lnTo>
                  <a:lnTo>
                    <a:pt x="128" y="238"/>
                  </a:lnTo>
                  <a:lnTo>
                    <a:pt x="120" y="238"/>
                  </a:lnTo>
                  <a:lnTo>
                    <a:pt x="106" y="242"/>
                  </a:lnTo>
                  <a:lnTo>
                    <a:pt x="102" y="242"/>
                  </a:lnTo>
                  <a:lnTo>
                    <a:pt x="102" y="238"/>
                  </a:lnTo>
                  <a:lnTo>
                    <a:pt x="106" y="230"/>
                  </a:lnTo>
                  <a:lnTo>
                    <a:pt x="100" y="228"/>
                  </a:lnTo>
                  <a:lnTo>
                    <a:pt x="92" y="224"/>
                  </a:lnTo>
                  <a:lnTo>
                    <a:pt x="84" y="218"/>
                  </a:lnTo>
                  <a:lnTo>
                    <a:pt x="82" y="210"/>
                  </a:lnTo>
                  <a:lnTo>
                    <a:pt x="88" y="206"/>
                  </a:lnTo>
                  <a:lnTo>
                    <a:pt x="94" y="206"/>
                  </a:lnTo>
                  <a:lnTo>
                    <a:pt x="92" y="204"/>
                  </a:lnTo>
                  <a:lnTo>
                    <a:pt x="82" y="196"/>
                  </a:lnTo>
                  <a:lnTo>
                    <a:pt x="78" y="200"/>
                  </a:lnTo>
                  <a:lnTo>
                    <a:pt x="74" y="206"/>
                  </a:lnTo>
                  <a:lnTo>
                    <a:pt x="72" y="210"/>
                  </a:lnTo>
                  <a:lnTo>
                    <a:pt x="64" y="204"/>
                  </a:lnTo>
                  <a:lnTo>
                    <a:pt x="60" y="200"/>
                  </a:lnTo>
                  <a:lnTo>
                    <a:pt x="50" y="200"/>
                  </a:lnTo>
                  <a:lnTo>
                    <a:pt x="50" y="194"/>
                  </a:lnTo>
                  <a:lnTo>
                    <a:pt x="46" y="194"/>
                  </a:lnTo>
                  <a:lnTo>
                    <a:pt x="42" y="194"/>
                  </a:lnTo>
                  <a:lnTo>
                    <a:pt x="40" y="190"/>
                  </a:lnTo>
                  <a:lnTo>
                    <a:pt x="44" y="188"/>
                  </a:lnTo>
                  <a:lnTo>
                    <a:pt x="48" y="186"/>
                  </a:lnTo>
                  <a:lnTo>
                    <a:pt x="44" y="184"/>
                  </a:lnTo>
                  <a:lnTo>
                    <a:pt x="40" y="182"/>
                  </a:lnTo>
                  <a:lnTo>
                    <a:pt x="44" y="178"/>
                  </a:lnTo>
                  <a:lnTo>
                    <a:pt x="46" y="176"/>
                  </a:lnTo>
                  <a:lnTo>
                    <a:pt x="46" y="172"/>
                  </a:lnTo>
                  <a:lnTo>
                    <a:pt x="40" y="170"/>
                  </a:lnTo>
                  <a:lnTo>
                    <a:pt x="30" y="166"/>
                  </a:lnTo>
                  <a:lnTo>
                    <a:pt x="18" y="154"/>
                  </a:lnTo>
                  <a:lnTo>
                    <a:pt x="20" y="152"/>
                  </a:lnTo>
                  <a:lnTo>
                    <a:pt x="18" y="148"/>
                  </a:lnTo>
                  <a:lnTo>
                    <a:pt x="18" y="140"/>
                  </a:lnTo>
                  <a:lnTo>
                    <a:pt x="14" y="140"/>
                  </a:lnTo>
                  <a:lnTo>
                    <a:pt x="12" y="134"/>
                  </a:lnTo>
                  <a:lnTo>
                    <a:pt x="2" y="130"/>
                  </a:lnTo>
                  <a:lnTo>
                    <a:pt x="0" y="122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2B5278FD-4869-4A88-948D-BE87A547C79A}"/>
              </a:ext>
            </a:extLst>
          </p:cNvPr>
          <p:cNvCxnSpPr/>
          <p:nvPr/>
        </p:nvCxnSpPr>
        <p:spPr>
          <a:xfrm flipH="1" flipV="1">
            <a:off x="3558585" y="2094827"/>
            <a:ext cx="208663" cy="216024"/>
          </a:xfrm>
          <a:prstGeom prst="straightConnector1">
            <a:avLst/>
          </a:prstGeom>
          <a:ln w="28575">
            <a:solidFill>
              <a:srgbClr val="0066A9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2B0C7EFB-F24C-4598-9708-61B4CC10B893}"/>
              </a:ext>
            </a:extLst>
          </p:cNvPr>
          <p:cNvCxnSpPr/>
          <p:nvPr/>
        </p:nvCxnSpPr>
        <p:spPr>
          <a:xfrm flipH="1" flipV="1">
            <a:off x="5137720" y="3110266"/>
            <a:ext cx="208663" cy="216024"/>
          </a:xfrm>
          <a:prstGeom prst="straightConnector1">
            <a:avLst/>
          </a:prstGeom>
          <a:ln w="28575">
            <a:solidFill>
              <a:srgbClr val="0066A9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666F0E0A-1338-4B13-97C0-7CF4649572B8}"/>
              </a:ext>
            </a:extLst>
          </p:cNvPr>
          <p:cNvCxnSpPr/>
          <p:nvPr/>
        </p:nvCxnSpPr>
        <p:spPr>
          <a:xfrm flipH="1" flipV="1">
            <a:off x="4903858" y="2880587"/>
            <a:ext cx="208663" cy="216024"/>
          </a:xfrm>
          <a:prstGeom prst="straightConnector1">
            <a:avLst/>
          </a:prstGeom>
          <a:ln w="28575">
            <a:solidFill>
              <a:srgbClr val="0066A9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7CD3EA32-984C-4636-BA77-F758BC664ADE}"/>
              </a:ext>
            </a:extLst>
          </p:cNvPr>
          <p:cNvCxnSpPr/>
          <p:nvPr/>
        </p:nvCxnSpPr>
        <p:spPr>
          <a:xfrm flipH="1" flipV="1">
            <a:off x="3295484" y="1832765"/>
            <a:ext cx="208663" cy="216024"/>
          </a:xfrm>
          <a:prstGeom prst="straightConnector1">
            <a:avLst/>
          </a:prstGeom>
          <a:ln w="28575">
            <a:solidFill>
              <a:srgbClr val="0066A9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3024970F-FDF0-45FF-94CA-BAA9EC3F0451}"/>
              </a:ext>
            </a:extLst>
          </p:cNvPr>
          <p:cNvCxnSpPr/>
          <p:nvPr/>
        </p:nvCxnSpPr>
        <p:spPr>
          <a:xfrm>
            <a:off x="4857459" y="2948808"/>
            <a:ext cx="208664" cy="200965"/>
          </a:xfrm>
          <a:prstGeom prst="straightConnector1">
            <a:avLst/>
          </a:prstGeom>
          <a:ln w="28575">
            <a:solidFill>
              <a:srgbClr val="0066A9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feld 17">
                <a:extLst>
                  <a:ext uri="{FF2B5EF4-FFF2-40B4-BE49-F238E27FC236}">
                    <a16:creationId xmlns:a16="http://schemas.microsoft.com/office/drawing/2014/main" id="{703F2ECD-5E0A-4513-A62E-F5BC12C3B34A}"/>
                  </a:ext>
                </a:extLst>
              </p:cNvPr>
              <p:cNvSpPr txBox="1"/>
              <p:nvPr/>
            </p:nvSpPr>
            <p:spPr>
              <a:xfrm>
                <a:off x="1971363" y="2127084"/>
                <a:ext cx="1287532" cy="553998"/>
              </a:xfrm>
              <a:prstGeom prst="rect">
                <a:avLst/>
              </a:prstGeom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de-DE" sz="1000" b="1" i="1" dirty="0" smtClean="0">
                        <a:solidFill>
                          <a:srgbClr val="0066AA"/>
                        </a:solidFill>
                        <a:latin typeface="Cambria Math"/>
                      </a:rPr>
                      <m:t>𝑷𝑽𝒂𝒓</m:t>
                    </m:r>
                  </m:oMath>
                </a14:m>
                <a:r>
                  <a:rPr lang="de-DE" sz="1000" b="1" dirty="0">
                    <a:solidFill>
                      <a:srgbClr val="0066AA"/>
                    </a:solidFill>
                  </a:rPr>
                  <a:t> = 156.325.000 €</a:t>
                </a:r>
              </a:p>
              <a:p>
                <a:r>
                  <a:rPr lang="de-DE" sz="1000" b="1" dirty="0"/>
                  <a:t>f = 0,75</a:t>
                </a:r>
              </a:p>
              <a:p>
                <a:r>
                  <a:rPr lang="de-DE" sz="1000" b="1" dirty="0" err="1">
                    <a:solidFill>
                      <a:srgbClr val="005C2A"/>
                    </a:solidFill>
                  </a:rPr>
                  <a:t>PVuc</a:t>
                </a:r>
                <a:r>
                  <a:rPr lang="de-DE" sz="1000" b="1" dirty="0">
                    <a:solidFill>
                      <a:srgbClr val="005C2A"/>
                    </a:solidFill>
                  </a:rPr>
                  <a:t> = 117.243.750 €</a:t>
                </a:r>
                <a:endParaRPr lang="en-GB" sz="1000" b="1" dirty="0">
                  <a:solidFill>
                    <a:srgbClr val="005C2A"/>
                  </a:solidFill>
                </a:endParaRPr>
              </a:p>
            </p:txBody>
          </p:sp>
        </mc:Choice>
        <mc:Fallback xmlns="">
          <p:sp>
            <p:nvSpPr>
              <p:cNvPr id="18" name="Textfeld 17">
                <a:extLst>
                  <a:ext uri="{FF2B5EF4-FFF2-40B4-BE49-F238E27FC236}">
                    <a16:creationId xmlns:a16="http://schemas.microsoft.com/office/drawing/2014/main" id="{703F2ECD-5E0A-4513-A62E-F5BC12C3B34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71363" y="2127084"/>
                <a:ext cx="1287532" cy="55399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Textfeld 18">
            <a:extLst>
              <a:ext uri="{FF2B5EF4-FFF2-40B4-BE49-F238E27FC236}">
                <a16:creationId xmlns:a16="http://schemas.microsoft.com/office/drawing/2014/main" id="{6328F9FF-3842-42CD-96C9-38807A749644}"/>
              </a:ext>
            </a:extLst>
          </p:cNvPr>
          <p:cNvSpPr txBox="1"/>
          <p:nvPr/>
        </p:nvSpPr>
        <p:spPr>
          <a:xfrm>
            <a:off x="5884775" y="1490692"/>
            <a:ext cx="8002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</a:rPr>
              <a:t>2,69 % m3</a:t>
            </a:r>
            <a:endParaRPr lang="en-GB" sz="1000" b="1" dirty="0">
              <a:solidFill>
                <a:schemeClr val="bg1"/>
              </a:solidFill>
            </a:endParaRPr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9150D7C2-6351-4792-B13A-C10FB50C7E4B}"/>
              </a:ext>
            </a:extLst>
          </p:cNvPr>
          <p:cNvSpPr/>
          <p:nvPr/>
        </p:nvSpPr>
        <p:spPr>
          <a:xfrm>
            <a:off x="4423780" y="1832765"/>
            <a:ext cx="46038" cy="46038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000"/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A38AB107-DB49-4B07-8428-7F5B5206AB80}"/>
              </a:ext>
            </a:extLst>
          </p:cNvPr>
          <p:cNvSpPr/>
          <p:nvPr/>
        </p:nvSpPr>
        <p:spPr>
          <a:xfrm>
            <a:off x="3458310" y="1637175"/>
            <a:ext cx="46038" cy="46038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000"/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DF69B8CE-74E7-404F-86DB-D7CF00332AA1}"/>
              </a:ext>
            </a:extLst>
          </p:cNvPr>
          <p:cNvSpPr/>
          <p:nvPr/>
        </p:nvSpPr>
        <p:spPr>
          <a:xfrm>
            <a:off x="3520527" y="2048789"/>
            <a:ext cx="46038" cy="46038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000"/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9440E0A3-9304-4EF7-A416-23343234EC04}"/>
              </a:ext>
            </a:extLst>
          </p:cNvPr>
          <p:cNvSpPr/>
          <p:nvPr/>
        </p:nvSpPr>
        <p:spPr>
          <a:xfrm>
            <a:off x="5110904" y="3087247"/>
            <a:ext cx="46038" cy="46038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000"/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7F1AC713-BFFD-400C-B423-AB00E084AFCF}"/>
              </a:ext>
            </a:extLst>
          </p:cNvPr>
          <p:cNvSpPr/>
          <p:nvPr/>
        </p:nvSpPr>
        <p:spPr>
          <a:xfrm>
            <a:off x="8196949" y="3707602"/>
            <a:ext cx="46038" cy="46038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000"/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8B04C7FB-E2C9-4059-8773-491F94BACF27}"/>
              </a:ext>
            </a:extLst>
          </p:cNvPr>
          <p:cNvSpPr/>
          <p:nvPr/>
        </p:nvSpPr>
        <p:spPr>
          <a:xfrm>
            <a:off x="8044011" y="4373447"/>
            <a:ext cx="46038" cy="46038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000"/>
          </a:p>
        </p:txBody>
      </p:sp>
      <p:pic>
        <p:nvPicPr>
          <p:cNvPr id="26" name="Picture 2">
            <a:extLst>
              <a:ext uri="{FF2B5EF4-FFF2-40B4-BE49-F238E27FC236}">
                <a16:creationId xmlns:a16="http://schemas.microsoft.com/office/drawing/2014/main" id="{3510F44A-3F8D-4AB3-8E79-73E38CF263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3495" y="1793987"/>
            <a:ext cx="413712" cy="277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Ellipse 26">
            <a:extLst>
              <a:ext uri="{FF2B5EF4-FFF2-40B4-BE49-F238E27FC236}">
                <a16:creationId xmlns:a16="http://schemas.microsoft.com/office/drawing/2014/main" id="{28F94B8D-831F-4AB1-97F7-7356609B5AB6}"/>
              </a:ext>
            </a:extLst>
          </p:cNvPr>
          <p:cNvSpPr/>
          <p:nvPr/>
        </p:nvSpPr>
        <p:spPr>
          <a:xfrm>
            <a:off x="3049488" y="1834551"/>
            <a:ext cx="46038" cy="45719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000"/>
          </a:p>
        </p:txBody>
      </p:sp>
      <p:pic>
        <p:nvPicPr>
          <p:cNvPr id="28" name="Picture 2">
            <a:extLst>
              <a:ext uri="{FF2B5EF4-FFF2-40B4-BE49-F238E27FC236}">
                <a16:creationId xmlns:a16="http://schemas.microsoft.com/office/drawing/2014/main" id="{4181BCEB-6E29-40DE-A8E1-FCC8721622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1745" y="1784006"/>
            <a:ext cx="554679" cy="2784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4" descr="Bildergebnis für romania flag">
            <a:extLst>
              <a:ext uri="{FF2B5EF4-FFF2-40B4-BE49-F238E27FC236}">
                <a16:creationId xmlns:a16="http://schemas.microsoft.com/office/drawing/2014/main" id="{49178222-BA6A-466D-9270-6DE4495F8E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6269" y="3941384"/>
            <a:ext cx="504056" cy="336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0" name="Textfeld 29">
                <a:extLst>
                  <a:ext uri="{FF2B5EF4-FFF2-40B4-BE49-F238E27FC236}">
                    <a16:creationId xmlns:a16="http://schemas.microsoft.com/office/drawing/2014/main" id="{EF89B41B-4F9F-4318-ADE8-78EBD77F31D6}"/>
                  </a:ext>
                </a:extLst>
              </p:cNvPr>
              <p:cNvSpPr txBox="1"/>
              <p:nvPr/>
            </p:nvSpPr>
            <p:spPr>
              <a:xfrm>
                <a:off x="3826052" y="2288742"/>
                <a:ext cx="1287532" cy="553998"/>
              </a:xfrm>
              <a:prstGeom prst="rect">
                <a:avLst/>
              </a:prstGeom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de-DE" sz="1000" b="1" i="1" dirty="0" smtClean="0">
                        <a:solidFill>
                          <a:srgbClr val="0066AA"/>
                        </a:solidFill>
                        <a:latin typeface="Cambria Math"/>
                      </a:rPr>
                      <m:t>𝑷𝑽𝒂𝒓</m:t>
                    </m:r>
                    <m:r>
                      <a:rPr lang="de-DE" sz="1000" b="1" i="1" dirty="0" smtClean="0">
                        <a:solidFill>
                          <a:srgbClr val="0066AA"/>
                        </a:solidFill>
                        <a:latin typeface="Cambria Math"/>
                      </a:rPr>
                      <m:t> </m:t>
                    </m:r>
                  </m:oMath>
                </a14:m>
                <a:r>
                  <a:rPr lang="de-DE" sz="1000" b="1" dirty="0">
                    <a:solidFill>
                      <a:srgbClr val="0066AA"/>
                    </a:solidFill>
                  </a:rPr>
                  <a:t>= 460.435.483 €</a:t>
                </a:r>
              </a:p>
              <a:p>
                <a:r>
                  <a:rPr lang="de-DE" sz="1000" b="1" dirty="0"/>
                  <a:t>f = 0,873</a:t>
                </a:r>
              </a:p>
              <a:p>
                <a:r>
                  <a:rPr lang="de-DE" sz="1000" b="1" dirty="0" err="1">
                    <a:solidFill>
                      <a:srgbClr val="005C2A"/>
                    </a:solidFill>
                  </a:rPr>
                  <a:t>PVuc</a:t>
                </a:r>
                <a:r>
                  <a:rPr lang="de-DE" sz="1000" b="1" dirty="0">
                    <a:solidFill>
                      <a:srgbClr val="005C2A"/>
                    </a:solidFill>
                  </a:rPr>
                  <a:t> = 401.960.177 €</a:t>
                </a:r>
                <a:endParaRPr lang="en-GB" sz="1000" b="1" dirty="0">
                  <a:solidFill>
                    <a:srgbClr val="005C2A"/>
                  </a:solidFill>
                </a:endParaRPr>
              </a:p>
            </p:txBody>
          </p:sp>
        </mc:Choice>
        <mc:Fallback xmlns="">
          <p:sp>
            <p:nvSpPr>
              <p:cNvPr id="30" name="Textfeld 29">
                <a:extLst>
                  <a:ext uri="{FF2B5EF4-FFF2-40B4-BE49-F238E27FC236}">
                    <a16:creationId xmlns:a16="http://schemas.microsoft.com/office/drawing/2014/main" id="{EF89B41B-4F9F-4318-ADE8-78EBD77F31D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26052" y="2288742"/>
                <a:ext cx="1287532" cy="553998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" name="Textfeld 30">
                <a:extLst>
                  <a:ext uri="{FF2B5EF4-FFF2-40B4-BE49-F238E27FC236}">
                    <a16:creationId xmlns:a16="http://schemas.microsoft.com/office/drawing/2014/main" id="{A75D05D8-F9FA-40EA-B347-C7DBE1376B2C}"/>
                  </a:ext>
                </a:extLst>
              </p:cNvPr>
              <p:cNvSpPr txBox="1"/>
              <p:nvPr/>
            </p:nvSpPr>
            <p:spPr>
              <a:xfrm>
                <a:off x="5471930" y="3070317"/>
                <a:ext cx="1287532" cy="553998"/>
              </a:xfrm>
              <a:prstGeom prst="rect">
                <a:avLst/>
              </a:prstGeom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de-DE" sz="1000" b="1" i="1" dirty="0" smtClean="0">
                        <a:solidFill>
                          <a:srgbClr val="0066AA"/>
                        </a:solidFill>
                        <a:latin typeface="Cambria Math"/>
                      </a:rPr>
                      <m:t>𝑷𝑽𝒂𝒓</m:t>
                    </m:r>
                  </m:oMath>
                </a14:m>
                <a:r>
                  <a:rPr lang="de-DE" sz="1000" b="1" dirty="0">
                    <a:solidFill>
                      <a:srgbClr val="0066AA"/>
                    </a:solidFill>
                  </a:rPr>
                  <a:t> = 441.445.497 €</a:t>
                </a:r>
              </a:p>
              <a:p>
                <a:r>
                  <a:rPr lang="de-DE" sz="1000" b="1" dirty="0"/>
                  <a:t>f = 0,75</a:t>
                </a:r>
              </a:p>
              <a:p>
                <a:r>
                  <a:rPr lang="de-DE" sz="1000" b="1" dirty="0" err="1">
                    <a:solidFill>
                      <a:srgbClr val="005C2A"/>
                    </a:solidFill>
                  </a:rPr>
                  <a:t>PVuc</a:t>
                </a:r>
                <a:r>
                  <a:rPr lang="de-DE" sz="1000" b="1" dirty="0">
                    <a:solidFill>
                      <a:srgbClr val="005C2A"/>
                    </a:solidFill>
                  </a:rPr>
                  <a:t> = 331.084.122 €</a:t>
                </a:r>
                <a:endParaRPr lang="en-GB" sz="1000" b="1" dirty="0">
                  <a:solidFill>
                    <a:srgbClr val="005C2A"/>
                  </a:solidFill>
                </a:endParaRPr>
              </a:p>
            </p:txBody>
          </p:sp>
        </mc:Choice>
        <mc:Fallback xmlns="">
          <p:sp>
            <p:nvSpPr>
              <p:cNvPr id="31" name="Textfeld 30">
                <a:extLst>
                  <a:ext uri="{FF2B5EF4-FFF2-40B4-BE49-F238E27FC236}">
                    <a16:creationId xmlns:a16="http://schemas.microsoft.com/office/drawing/2014/main" id="{A75D05D8-F9FA-40EA-B347-C7DBE1376B2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71930" y="3070317"/>
                <a:ext cx="1287532" cy="553998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" name="Inhaltsplatzhalter 63">
                <a:extLst>
                  <a:ext uri="{FF2B5EF4-FFF2-40B4-BE49-F238E27FC236}">
                    <a16:creationId xmlns:a16="http://schemas.microsoft.com/office/drawing/2014/main" id="{06EC651B-1896-4449-94B8-4728805C9FF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0786" y="3378295"/>
                <a:ext cx="2356735" cy="1733808"/>
              </a:xfrm>
              <a:prstGeom prst="rect">
                <a:avLst/>
              </a:prstGeom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rtlCol="0">
                <a:spAutoFit/>
              </a:bodyPr>
              <a:lstStyle>
                <a:lvl1pPr marL="0" indent="0" algn="l" defTabSz="914400" rtl="0" eaLnBrk="1" latinLnBrk="0" hangingPunct="1">
                  <a:spcBef>
                    <a:spcPts val="500"/>
                  </a:spcBef>
                  <a:buFont typeface="Arial" pitchFamily="34" charset="0"/>
                  <a:buNone/>
                  <a:defRPr sz="1600" kern="1200">
                    <a:solidFill>
                      <a:schemeClr val="tx1"/>
                    </a:solidFill>
                    <a:latin typeface="+mj-lt"/>
                    <a:ea typeface="+mn-ea"/>
                    <a:cs typeface="Arial" pitchFamily="34" charset="0"/>
                  </a:defRPr>
                </a:lvl1pPr>
                <a:lvl2pPr marL="268288" indent="-268288" algn="l" defTabSz="914400" rtl="0" eaLnBrk="1" latinLnBrk="0" hangingPunct="1">
                  <a:spcBef>
                    <a:spcPts val="500"/>
                  </a:spcBef>
                  <a:buClr>
                    <a:srgbClr val="0066A9"/>
                  </a:buClr>
                  <a:buFont typeface="Arial" panose="020B0604020202020204" pitchFamily="34" charset="0"/>
                  <a:buChar char="&gt;"/>
                  <a:defRPr sz="1600" kern="1200">
                    <a:solidFill>
                      <a:schemeClr val="tx1"/>
                    </a:solidFill>
                    <a:latin typeface="+mj-lt"/>
                    <a:ea typeface="+mn-ea"/>
                    <a:cs typeface="Arial" pitchFamily="34" charset="0"/>
                  </a:defRPr>
                </a:lvl2pPr>
                <a:lvl3pPr marL="536575" indent="-268288" algn="l" defTabSz="914400" rtl="0" eaLnBrk="1" latinLnBrk="0" hangingPunct="1">
                  <a:spcBef>
                    <a:spcPts val="400"/>
                  </a:spcBef>
                  <a:buClr>
                    <a:srgbClr val="0066A9"/>
                  </a:buClr>
                  <a:buFont typeface="Wingdings" panose="05000000000000000000" pitchFamily="2" charset="2"/>
                  <a:buChar char=""/>
                  <a:defRPr sz="1600" kern="1200">
                    <a:solidFill>
                      <a:schemeClr val="tx1"/>
                    </a:solidFill>
                    <a:latin typeface="+mj-lt"/>
                    <a:ea typeface="+mn-ea"/>
                    <a:cs typeface="Arial" pitchFamily="34" charset="0"/>
                  </a:defRPr>
                </a:lvl3pPr>
                <a:lvl4pPr marL="720725" indent="-273050" algn="l" defTabSz="914400" rtl="0" eaLnBrk="1" latinLnBrk="0" hangingPunct="1">
                  <a:spcBef>
                    <a:spcPts val="400"/>
                  </a:spcBef>
                  <a:buFont typeface="Symbol" panose="05050102010706020507" pitchFamily="18" charset="2"/>
                  <a:buChar char="-"/>
                  <a:defRPr sz="1600" kern="1200">
                    <a:solidFill>
                      <a:schemeClr val="tx1"/>
                    </a:solidFill>
                    <a:latin typeface="+mj-lt"/>
                    <a:ea typeface="+mn-ea"/>
                    <a:cs typeface="Arial" pitchFamily="34" charset="0"/>
                  </a:defRPr>
                </a:lvl4pPr>
                <a:lvl5pPr marL="896938" indent="-269875" algn="l" defTabSz="914400" rtl="0" eaLnBrk="1" latinLnBrk="0" hangingPunct="1">
                  <a:spcBef>
                    <a:spcPts val="400"/>
                  </a:spcBef>
                  <a:buFont typeface="Arial" pitchFamily="34" charset="0"/>
                  <a:buChar char="–"/>
                  <a:defRPr sz="1600" kern="1200">
                    <a:solidFill>
                      <a:schemeClr val="tx1"/>
                    </a:solidFill>
                    <a:latin typeface="+mj-lt"/>
                    <a:ea typeface="+mn-ea"/>
                    <a:cs typeface="Arial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de-DE" sz="1800" b="1" dirty="0"/>
                  <a:t>Economic </a:t>
                </a:r>
                <a:r>
                  <a:rPr lang="de-DE" sz="1800" b="1" dirty="0" err="1"/>
                  <a:t>test</a:t>
                </a:r>
                <a:endParaRPr lang="de-DE" sz="1800" b="1" dirty="0"/>
              </a:p>
              <a:p>
                <a:endParaRPr lang="de-DE" sz="1800" b="1" i="1" dirty="0">
                  <a:latin typeface="Cambria Math"/>
                </a:endParaRPr>
              </a:p>
              <a:p>
                <a14:m>
                  <m:oMath xmlns:m="http://schemas.openxmlformats.org/officeDocument/2006/math">
                    <m:r>
                      <a:rPr lang="de-DE" sz="1800" b="1" i="1" dirty="0">
                        <a:highlight>
                          <a:srgbClr val="FFFF00"/>
                        </a:highlight>
                        <a:latin typeface="Cambria Math"/>
                      </a:rPr>
                      <m:t>𝑷𝑽𝒂𝒓</m:t>
                    </m:r>
                  </m:oMath>
                </a14:m>
                <a:r>
                  <a:rPr lang="de-DE" sz="1800" b="1" dirty="0">
                    <a:highlight>
                      <a:srgbClr val="FFFF00"/>
                    </a:highlight>
                  </a:rPr>
                  <a:t> = 1.058.206.000 €</a:t>
                </a:r>
              </a:p>
              <a:p>
                <a:r>
                  <a:rPr lang="de-DE" sz="1800" b="1" dirty="0"/>
                  <a:t>f ~ 0,81279</a:t>
                </a:r>
              </a:p>
              <a:p>
                <a:r>
                  <a:rPr lang="de-DE" sz="1800" b="1" i="1" dirty="0">
                    <a:solidFill>
                      <a:srgbClr val="005C2A"/>
                    </a:solidFill>
                  </a:rPr>
                  <a:t>PV </a:t>
                </a:r>
                <a:r>
                  <a:rPr lang="de-DE" sz="1800" b="1" i="1" dirty="0" err="1">
                    <a:solidFill>
                      <a:srgbClr val="005C2A"/>
                    </a:solidFill>
                  </a:rPr>
                  <a:t>uc</a:t>
                </a:r>
                <a:r>
                  <a:rPr lang="de-DE" sz="1800" b="1" i="1" dirty="0">
                    <a:solidFill>
                      <a:srgbClr val="005C2A"/>
                    </a:solidFill>
                  </a:rPr>
                  <a:t> </a:t>
                </a:r>
                <a:r>
                  <a:rPr lang="de-DE" sz="1800" b="1" dirty="0">
                    <a:solidFill>
                      <a:srgbClr val="005C2A"/>
                    </a:solidFill>
                  </a:rPr>
                  <a:t>= 850.288.000 €</a:t>
                </a:r>
                <a:endParaRPr lang="en-GB" sz="1800" b="1" dirty="0">
                  <a:solidFill>
                    <a:srgbClr val="005C2A"/>
                  </a:solidFill>
                </a:endParaRPr>
              </a:p>
            </p:txBody>
          </p:sp>
        </mc:Choice>
        <mc:Fallback xmlns="">
          <p:sp>
            <p:nvSpPr>
              <p:cNvPr id="32" name="Inhaltsplatzhalter 63">
                <a:extLst>
                  <a:ext uri="{FF2B5EF4-FFF2-40B4-BE49-F238E27FC236}">
                    <a16:creationId xmlns:a16="http://schemas.microsoft.com/office/drawing/2014/main" id="{06EC651B-1896-4449-94B8-4728805C9FF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786" y="3378295"/>
                <a:ext cx="2356735" cy="1733808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6375D477-CB3C-47E7-86DC-6644635A5639}"/>
              </a:ext>
            </a:extLst>
          </p:cNvPr>
          <p:cNvCxnSpPr/>
          <p:nvPr/>
        </p:nvCxnSpPr>
        <p:spPr>
          <a:xfrm>
            <a:off x="5093448" y="3179540"/>
            <a:ext cx="208664" cy="200965"/>
          </a:xfrm>
          <a:prstGeom prst="straightConnector1">
            <a:avLst/>
          </a:prstGeom>
          <a:ln w="28575">
            <a:solidFill>
              <a:srgbClr val="0066A9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51396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30" grpId="0" animBg="1"/>
      <p:bldP spid="31" grpId="0" animBg="1"/>
      <p:bldP spid="32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6" name="Rechteck: obere Ecken abgerundet 5"/>
          <p:cNvSpPr/>
          <p:nvPr/>
        </p:nvSpPr>
        <p:spPr>
          <a:xfrm rot="16200000">
            <a:off x="5901553" y="-102843"/>
            <a:ext cx="540000" cy="5976937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b="1" dirty="0">
              <a:solidFill>
                <a:schemeClr val="accent1"/>
              </a:solidFill>
            </a:endParaRPr>
          </a:p>
        </p:txBody>
      </p:sp>
      <p:sp>
        <p:nvSpPr>
          <p:cNvPr id="7" name="Rechteck: obere Ecken abgerundet 6"/>
          <p:cNvSpPr/>
          <p:nvPr/>
        </p:nvSpPr>
        <p:spPr>
          <a:xfrm rot="16200000">
            <a:off x="5901553" y="-801014"/>
            <a:ext cx="540000" cy="5976937"/>
          </a:xfrm>
          <a:prstGeom prst="round2SameRect">
            <a:avLst>
              <a:gd name="adj1" fmla="val 17861"/>
              <a:gd name="adj2" fmla="val 0"/>
            </a:avLst>
          </a:prstGeom>
          <a:solidFill>
            <a:schemeClr val="accent1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b="1" u="none" dirty="0">
              <a:solidFill>
                <a:schemeClr val="bg1"/>
              </a:solidFill>
            </a:endParaRPr>
          </a:p>
        </p:txBody>
      </p:sp>
      <p:sp>
        <p:nvSpPr>
          <p:cNvPr id="8" name="Rechteck: obere Ecken abgerundet 7"/>
          <p:cNvSpPr/>
          <p:nvPr/>
        </p:nvSpPr>
        <p:spPr>
          <a:xfrm rot="16200000">
            <a:off x="5901553" y="-1499185"/>
            <a:ext cx="540000" cy="5976937"/>
          </a:xfrm>
          <a:prstGeom prst="round2SameRect">
            <a:avLst>
              <a:gd name="adj1" fmla="val 17861"/>
              <a:gd name="adj2" fmla="val 0"/>
            </a:avLst>
          </a:prstGeom>
          <a:solidFill>
            <a:schemeClr val="bg1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216000" rIns="0" rtlCol="0" anchor="ctr"/>
          <a:lstStyle/>
          <a:p>
            <a:endParaRPr lang="de-DE" b="1" dirty="0">
              <a:solidFill>
                <a:schemeClr val="accent1"/>
              </a:solidFill>
            </a:endParaRPr>
          </a:p>
        </p:txBody>
      </p:sp>
      <p:sp>
        <p:nvSpPr>
          <p:cNvPr id="9" name="Rechteck: obere Ecken abgerundet 8"/>
          <p:cNvSpPr/>
          <p:nvPr/>
        </p:nvSpPr>
        <p:spPr>
          <a:xfrm rot="16200000">
            <a:off x="5901553" y="595328"/>
            <a:ext cx="540000" cy="5976937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b="1" dirty="0">
              <a:solidFill>
                <a:schemeClr val="accent1"/>
              </a:solidFill>
            </a:endParaRPr>
          </a:p>
        </p:txBody>
      </p:sp>
      <p:sp>
        <p:nvSpPr>
          <p:cNvPr id="10" name="Rechteck: obere Ecken abgerundet 9"/>
          <p:cNvSpPr/>
          <p:nvPr/>
        </p:nvSpPr>
        <p:spPr>
          <a:xfrm rot="16200000">
            <a:off x="5901553" y="1293501"/>
            <a:ext cx="540000" cy="5976937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b="1" dirty="0">
              <a:solidFill>
                <a:schemeClr val="accent1"/>
              </a:solidFill>
            </a:endParaRPr>
          </a:p>
        </p:txBody>
      </p:sp>
      <p:sp>
        <p:nvSpPr>
          <p:cNvPr id="11" name="Inhaltsplatzhalter 5"/>
          <p:cNvSpPr txBox="1">
            <a:spLocks/>
          </p:cNvSpPr>
          <p:nvPr/>
        </p:nvSpPr>
        <p:spPr>
          <a:xfrm>
            <a:off x="3455876" y="1302263"/>
            <a:ext cx="5364274" cy="374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800" b="1" kern="1200">
                <a:solidFill>
                  <a:schemeClr val="bg1"/>
                </a:solidFill>
                <a:latin typeface="+mj-lt"/>
                <a:ea typeface="+mn-ea"/>
                <a:cs typeface="Arial" pitchFamily="34" charset="0"/>
              </a:defRPr>
            </a:lvl1pPr>
            <a:lvl2pPr marL="179388" indent="-179388" algn="l" defTabSz="914400" rtl="0" eaLnBrk="1" latinLnBrk="0" hangingPunct="1">
              <a:spcBef>
                <a:spcPts val="5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47675" indent="-268288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7063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0" dirty="0">
                <a:solidFill>
                  <a:schemeClr val="accent1"/>
                </a:solidFill>
              </a:rPr>
              <a:t>1. </a:t>
            </a:r>
            <a:r>
              <a:rPr lang="de-DE" b="0" dirty="0">
                <a:solidFill>
                  <a:srgbClr val="0066A9"/>
                </a:solidFill>
              </a:rPr>
              <a:t>ROHUAT </a:t>
            </a:r>
            <a:r>
              <a:rPr lang="de-DE" b="0" dirty="0" err="1">
                <a:solidFill>
                  <a:srgbClr val="0066A9"/>
                </a:solidFill>
              </a:rPr>
              <a:t>status</a:t>
            </a:r>
            <a:r>
              <a:rPr lang="de-DE" b="0" dirty="0">
                <a:solidFill>
                  <a:srgbClr val="0066A9"/>
                </a:solidFill>
              </a:rPr>
              <a:t> on 27 April 2017</a:t>
            </a:r>
            <a:endParaRPr lang="de-DE" b="0" dirty="0">
              <a:solidFill>
                <a:schemeClr val="accent1"/>
              </a:solidFill>
            </a:endParaRPr>
          </a:p>
        </p:txBody>
      </p:sp>
      <p:sp>
        <p:nvSpPr>
          <p:cNvPr id="12" name="Inhaltsplatzhalter 5"/>
          <p:cNvSpPr txBox="1">
            <a:spLocks/>
          </p:cNvSpPr>
          <p:nvPr/>
        </p:nvSpPr>
        <p:spPr>
          <a:xfrm>
            <a:off x="3455876" y="2000434"/>
            <a:ext cx="5364274" cy="374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800" b="0" kern="1200" baseline="0">
                <a:solidFill>
                  <a:schemeClr val="accent1"/>
                </a:solidFill>
                <a:latin typeface="+mj-lt"/>
                <a:ea typeface="+mn-ea"/>
                <a:cs typeface="Arial" pitchFamily="34" charset="0"/>
              </a:defRPr>
            </a:lvl1pPr>
            <a:lvl2pPr marL="179388" indent="-179388" algn="l" defTabSz="914400" rtl="0" eaLnBrk="1" latinLnBrk="0" hangingPunct="1">
              <a:spcBef>
                <a:spcPts val="5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47675" indent="-268288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7063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dirty="0">
                <a:solidFill>
                  <a:schemeClr val="bg1"/>
                </a:solidFill>
              </a:rPr>
              <a:t>2. </a:t>
            </a:r>
            <a:r>
              <a:rPr lang="de-DE" dirty="0">
                <a:solidFill>
                  <a:schemeClr val="bg1"/>
                </a:solidFill>
              </a:rPr>
              <a:t>ROHU     </a:t>
            </a:r>
            <a:r>
              <a:rPr lang="de-DE" dirty="0" err="1">
                <a:solidFill>
                  <a:schemeClr val="bg1"/>
                </a:solidFill>
              </a:rPr>
              <a:t>status</a:t>
            </a:r>
            <a:r>
              <a:rPr lang="de-DE" dirty="0">
                <a:solidFill>
                  <a:schemeClr val="bg1"/>
                </a:solidFill>
              </a:rPr>
              <a:t> on 12 </a:t>
            </a:r>
            <a:r>
              <a:rPr lang="de-DE" dirty="0" err="1">
                <a:solidFill>
                  <a:schemeClr val="bg1"/>
                </a:solidFill>
              </a:rPr>
              <a:t>October</a:t>
            </a:r>
            <a:r>
              <a:rPr lang="de-DE" dirty="0">
                <a:solidFill>
                  <a:schemeClr val="bg1"/>
                </a:solidFill>
              </a:rPr>
              <a:t> 2017</a:t>
            </a:r>
            <a:endParaRPr lang="de-DE" b="1" dirty="0">
              <a:solidFill>
                <a:schemeClr val="bg1"/>
              </a:solidFill>
            </a:endParaRPr>
          </a:p>
        </p:txBody>
      </p:sp>
      <p:sp>
        <p:nvSpPr>
          <p:cNvPr id="13" name="Inhaltsplatzhalter 5"/>
          <p:cNvSpPr txBox="1">
            <a:spLocks/>
          </p:cNvSpPr>
          <p:nvPr/>
        </p:nvSpPr>
        <p:spPr>
          <a:xfrm>
            <a:off x="3455876" y="2698605"/>
            <a:ext cx="5364274" cy="374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Arial" pitchFamily="34" charset="0"/>
              </a:defRPr>
            </a:lvl1pPr>
            <a:lvl2pPr marL="179388" indent="-179388" algn="l" defTabSz="914400" rtl="0" eaLnBrk="1" latinLnBrk="0" hangingPunct="1">
              <a:spcBef>
                <a:spcPts val="5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47675" indent="-268288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7063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3. HUAT (</a:t>
            </a:r>
            <a:r>
              <a:rPr lang="de-DE" dirty="0" err="1"/>
              <a:t>Mosonmagyarovar</a:t>
            </a:r>
            <a:r>
              <a:rPr lang="de-DE" dirty="0"/>
              <a:t>)  </a:t>
            </a:r>
            <a:r>
              <a:rPr lang="de-DE" dirty="0" err="1"/>
              <a:t>status</a:t>
            </a:r>
            <a:r>
              <a:rPr lang="de-DE" dirty="0"/>
              <a:t> on 06 June 2018</a:t>
            </a:r>
          </a:p>
        </p:txBody>
      </p:sp>
      <p:sp>
        <p:nvSpPr>
          <p:cNvPr id="14" name="Inhaltsplatzhalter 5"/>
          <p:cNvSpPr txBox="1">
            <a:spLocks/>
          </p:cNvSpPr>
          <p:nvPr/>
        </p:nvSpPr>
        <p:spPr>
          <a:xfrm>
            <a:off x="3455876" y="3396776"/>
            <a:ext cx="5364274" cy="374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Arial" pitchFamily="34" charset="0"/>
              </a:defRPr>
            </a:lvl1pPr>
            <a:lvl2pPr marL="179388" indent="-179388" algn="l" defTabSz="914400" rtl="0" eaLnBrk="1" latinLnBrk="0" hangingPunct="1">
              <a:spcBef>
                <a:spcPts val="5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47675" indent="-268288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7063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4. HUSKAT  </a:t>
            </a:r>
            <a:r>
              <a:rPr lang="de-DE" dirty="0" err="1"/>
              <a:t>status</a:t>
            </a:r>
            <a:r>
              <a:rPr lang="de-DE" dirty="0"/>
              <a:t> on 06 June 2018</a:t>
            </a:r>
          </a:p>
        </p:txBody>
      </p:sp>
      <p:sp>
        <p:nvSpPr>
          <p:cNvPr id="15" name="Inhaltsplatzhalter 5"/>
          <p:cNvSpPr txBox="1">
            <a:spLocks/>
          </p:cNvSpPr>
          <p:nvPr/>
        </p:nvSpPr>
        <p:spPr>
          <a:xfrm>
            <a:off x="3455876" y="4094949"/>
            <a:ext cx="5364274" cy="374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Arial" pitchFamily="34" charset="0"/>
              </a:defRPr>
            </a:lvl1pPr>
            <a:lvl2pPr marL="179388" indent="-179388" algn="l" defTabSz="914400" rtl="0" eaLnBrk="1" latinLnBrk="0" hangingPunct="1">
              <a:spcBef>
                <a:spcPts val="5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47675" indent="-268288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7063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5. </a:t>
            </a:r>
            <a:r>
              <a:rPr lang="de-DE" dirty="0" err="1"/>
              <a:t>Conclus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872877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516145-4646-4D93-A865-C2BA6D2F4E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Tariffs overview ROHU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B0C94F-07D6-4D03-A3C6-4479C673344F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(in local currency) status 12.10.2017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A53AC48-5F3D-4C22-9984-CA2395B7423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8" name="Foliennummernplatzhalter 3">
            <a:extLst>
              <a:ext uri="{FF2B5EF4-FFF2-40B4-BE49-F238E27FC236}">
                <a16:creationId xmlns:a16="http://schemas.microsoft.com/office/drawing/2014/main" id="{D8CA9F5B-37F1-4127-9F84-FD9860947462}"/>
              </a:ext>
            </a:extLst>
          </p:cNvPr>
          <p:cNvSpPr txBox="1">
            <a:spLocks/>
          </p:cNvSpPr>
          <p:nvPr/>
        </p:nvSpPr>
        <p:spPr>
          <a:xfrm>
            <a:off x="7396608" y="5086131"/>
            <a:ext cx="2133600" cy="4762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600" i="1" kern="1200" baseline="0">
                <a:solidFill>
                  <a:schemeClr val="bg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1pPr>
            <a:lvl2pPr marL="268288" indent="-268288" algn="l" defTabSz="914400" rtl="0" eaLnBrk="1" latinLnBrk="0" hangingPunct="1">
              <a:spcBef>
                <a:spcPts val="500"/>
              </a:spcBef>
              <a:buClr>
                <a:srgbClr val="0066A9"/>
              </a:buClr>
              <a:buFont typeface="Arial" panose="020B0604020202020204" pitchFamily="34" charset="0"/>
              <a:buChar char="&gt;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2pPr>
            <a:lvl3pPr marL="536575" indent="-268288" algn="l" defTabSz="914400" rtl="0" eaLnBrk="1" latinLnBrk="0" hangingPunct="1">
              <a:spcBef>
                <a:spcPts val="400"/>
              </a:spcBef>
              <a:buClr>
                <a:srgbClr val="0066A9"/>
              </a:buClr>
              <a:buFont typeface="Wingdings" panose="05000000000000000000" pitchFamily="2" charset="2"/>
              <a:buChar char="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3pPr>
            <a:lvl4pPr marL="720725" indent="-273050" algn="l" defTabSz="914400" rtl="0" eaLnBrk="1" latinLnBrk="0" hangingPunct="1">
              <a:spcBef>
                <a:spcPts val="4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38FDFA3-F5B0-4BC3-9E09-D644D952F017}" type="slidenum">
              <a:rPr lang="de-DE" altLang="de-DE" smtClean="0"/>
              <a:pPr/>
              <a:t>7</a:t>
            </a:fld>
            <a:endParaRPr lang="de-DE" altLang="de-DE" dirty="0"/>
          </a:p>
        </p:txBody>
      </p:sp>
      <p:grpSp>
        <p:nvGrpSpPr>
          <p:cNvPr id="9" name="Gruppierung 1">
            <a:extLst>
              <a:ext uri="{FF2B5EF4-FFF2-40B4-BE49-F238E27FC236}">
                <a16:creationId xmlns:a16="http://schemas.microsoft.com/office/drawing/2014/main" id="{35A0E72B-75BD-4D14-86FE-862727448316}"/>
              </a:ext>
            </a:extLst>
          </p:cNvPr>
          <p:cNvGrpSpPr/>
          <p:nvPr/>
        </p:nvGrpSpPr>
        <p:grpSpPr>
          <a:xfrm>
            <a:off x="-731754" y="1131547"/>
            <a:ext cx="10097113" cy="4241412"/>
            <a:chOff x="4992688" y="4651375"/>
            <a:chExt cx="1290637" cy="449263"/>
          </a:xfrm>
        </p:grpSpPr>
        <p:sp>
          <p:nvSpPr>
            <p:cNvPr id="10" name="Freeform 26">
              <a:extLst>
                <a:ext uri="{FF2B5EF4-FFF2-40B4-BE49-F238E27FC236}">
                  <a16:creationId xmlns:a16="http://schemas.microsoft.com/office/drawing/2014/main" id="{125BF8FA-40B8-4FA8-8FB3-5C59ABB681F7}"/>
                </a:ext>
              </a:extLst>
            </p:cNvPr>
            <p:cNvSpPr>
              <a:spLocks/>
            </p:cNvSpPr>
            <p:nvPr/>
          </p:nvSpPr>
          <p:spPr bwMode="gray">
            <a:xfrm>
              <a:off x="4992688" y="4651375"/>
              <a:ext cx="500062" cy="228600"/>
            </a:xfrm>
            <a:custGeom>
              <a:avLst/>
              <a:gdLst>
                <a:gd name="T0" fmla="*/ 31 w 302"/>
                <a:gd name="T1" fmla="*/ 209 h 148"/>
                <a:gd name="T2" fmla="*/ 48 w 302"/>
                <a:gd name="T3" fmla="*/ 207 h 148"/>
                <a:gd name="T4" fmla="*/ 70 w 302"/>
                <a:gd name="T5" fmla="*/ 215 h 148"/>
                <a:gd name="T6" fmla="*/ 86 w 302"/>
                <a:gd name="T7" fmla="*/ 229 h 148"/>
                <a:gd name="T8" fmla="*/ 100 w 302"/>
                <a:gd name="T9" fmla="*/ 244 h 148"/>
                <a:gd name="T10" fmla="*/ 138 w 302"/>
                <a:gd name="T11" fmla="*/ 224 h 148"/>
                <a:gd name="T12" fmla="*/ 155 w 302"/>
                <a:gd name="T13" fmla="*/ 207 h 148"/>
                <a:gd name="T14" fmla="*/ 198 w 302"/>
                <a:gd name="T15" fmla="*/ 209 h 148"/>
                <a:gd name="T16" fmla="*/ 217 w 302"/>
                <a:gd name="T17" fmla="*/ 229 h 148"/>
                <a:gd name="T18" fmla="*/ 275 w 302"/>
                <a:gd name="T19" fmla="*/ 220 h 148"/>
                <a:gd name="T20" fmla="*/ 303 w 302"/>
                <a:gd name="T21" fmla="*/ 209 h 148"/>
                <a:gd name="T22" fmla="*/ 392 w 302"/>
                <a:gd name="T23" fmla="*/ 198 h 148"/>
                <a:gd name="T24" fmla="*/ 429 w 302"/>
                <a:gd name="T25" fmla="*/ 184 h 148"/>
                <a:gd name="T26" fmla="*/ 477 w 302"/>
                <a:gd name="T27" fmla="*/ 189 h 148"/>
                <a:gd name="T28" fmla="*/ 486 w 302"/>
                <a:gd name="T29" fmla="*/ 207 h 148"/>
                <a:gd name="T30" fmla="*/ 523 w 302"/>
                <a:gd name="T31" fmla="*/ 215 h 148"/>
                <a:gd name="T32" fmla="*/ 523 w 302"/>
                <a:gd name="T33" fmla="*/ 184 h 148"/>
                <a:gd name="T34" fmla="*/ 516 w 302"/>
                <a:gd name="T35" fmla="*/ 164 h 148"/>
                <a:gd name="T36" fmla="*/ 499 w 302"/>
                <a:gd name="T37" fmla="*/ 106 h 148"/>
                <a:gd name="T38" fmla="*/ 577 w 302"/>
                <a:gd name="T39" fmla="*/ 76 h 148"/>
                <a:gd name="T40" fmla="*/ 593 w 302"/>
                <a:gd name="T41" fmla="*/ 50 h 148"/>
                <a:gd name="T42" fmla="*/ 661 w 302"/>
                <a:gd name="T43" fmla="*/ 47 h 148"/>
                <a:gd name="T44" fmla="*/ 700 w 302"/>
                <a:gd name="T45" fmla="*/ 56 h 148"/>
                <a:gd name="T46" fmla="*/ 770 w 302"/>
                <a:gd name="T47" fmla="*/ 50 h 148"/>
                <a:gd name="T48" fmla="*/ 905 w 302"/>
                <a:gd name="T49" fmla="*/ 21 h 148"/>
                <a:gd name="T50" fmla="*/ 1070 w 302"/>
                <a:gd name="T51" fmla="*/ 26 h 148"/>
                <a:gd name="T52" fmla="*/ 1106 w 302"/>
                <a:gd name="T53" fmla="*/ 47 h 148"/>
                <a:gd name="T54" fmla="*/ 1100 w 302"/>
                <a:gd name="T55" fmla="*/ 91 h 148"/>
                <a:gd name="T56" fmla="*/ 1160 w 302"/>
                <a:gd name="T57" fmla="*/ 143 h 148"/>
                <a:gd name="T58" fmla="*/ 1121 w 302"/>
                <a:gd name="T59" fmla="*/ 189 h 148"/>
                <a:gd name="T60" fmla="*/ 1060 w 302"/>
                <a:gd name="T61" fmla="*/ 184 h 148"/>
                <a:gd name="T62" fmla="*/ 1023 w 302"/>
                <a:gd name="T63" fmla="*/ 195 h 148"/>
                <a:gd name="T64" fmla="*/ 1060 w 302"/>
                <a:gd name="T65" fmla="*/ 209 h 148"/>
                <a:gd name="T66" fmla="*/ 1028 w 302"/>
                <a:gd name="T67" fmla="*/ 229 h 148"/>
                <a:gd name="T68" fmla="*/ 1038 w 302"/>
                <a:gd name="T69" fmla="*/ 267 h 148"/>
                <a:gd name="T70" fmla="*/ 1008 w 302"/>
                <a:gd name="T71" fmla="*/ 306 h 148"/>
                <a:gd name="T72" fmla="*/ 964 w 302"/>
                <a:gd name="T73" fmla="*/ 334 h 148"/>
                <a:gd name="T74" fmla="*/ 884 w 302"/>
                <a:gd name="T75" fmla="*/ 347 h 148"/>
                <a:gd name="T76" fmla="*/ 792 w 302"/>
                <a:gd name="T77" fmla="*/ 347 h 148"/>
                <a:gd name="T78" fmla="*/ 732 w 302"/>
                <a:gd name="T79" fmla="*/ 366 h 148"/>
                <a:gd name="T80" fmla="*/ 675 w 302"/>
                <a:gd name="T81" fmla="*/ 362 h 148"/>
                <a:gd name="T82" fmla="*/ 577 w 302"/>
                <a:gd name="T83" fmla="*/ 351 h 148"/>
                <a:gd name="T84" fmla="*/ 429 w 302"/>
                <a:gd name="T85" fmla="*/ 332 h 148"/>
                <a:gd name="T86" fmla="*/ 382 w 302"/>
                <a:gd name="T87" fmla="*/ 297 h 148"/>
                <a:gd name="T88" fmla="*/ 332 w 302"/>
                <a:gd name="T89" fmla="*/ 290 h 148"/>
                <a:gd name="T90" fmla="*/ 275 w 302"/>
                <a:gd name="T91" fmla="*/ 290 h 148"/>
                <a:gd name="T92" fmla="*/ 244 w 302"/>
                <a:gd name="T93" fmla="*/ 290 h 148"/>
                <a:gd name="T94" fmla="*/ 185 w 302"/>
                <a:gd name="T95" fmla="*/ 316 h 148"/>
                <a:gd name="T96" fmla="*/ 138 w 302"/>
                <a:gd name="T97" fmla="*/ 290 h 148"/>
                <a:gd name="T98" fmla="*/ 94 w 302"/>
                <a:gd name="T99" fmla="*/ 306 h 148"/>
                <a:gd name="T100" fmla="*/ 56 w 302"/>
                <a:gd name="T101" fmla="*/ 283 h 148"/>
                <a:gd name="T102" fmla="*/ 16 w 302"/>
                <a:gd name="T103" fmla="*/ 267 h 148"/>
                <a:gd name="T104" fmla="*/ 16 w 302"/>
                <a:gd name="T105" fmla="*/ 229 h 148"/>
                <a:gd name="T106" fmla="*/ 10 w 302"/>
                <a:gd name="T107" fmla="*/ 207 h 1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02"/>
                <a:gd name="T163" fmla="*/ 0 h 148"/>
                <a:gd name="T164" fmla="*/ 302 w 302"/>
                <a:gd name="T165" fmla="*/ 148 h 14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02" h="148">
                  <a:moveTo>
                    <a:pt x="2" y="80"/>
                  </a:moveTo>
                  <a:lnTo>
                    <a:pt x="8" y="82"/>
                  </a:lnTo>
                  <a:lnTo>
                    <a:pt x="12" y="78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8" y="84"/>
                  </a:lnTo>
                  <a:lnTo>
                    <a:pt x="22" y="86"/>
                  </a:lnTo>
                  <a:lnTo>
                    <a:pt x="22" y="90"/>
                  </a:lnTo>
                  <a:lnTo>
                    <a:pt x="26" y="90"/>
                  </a:lnTo>
                  <a:lnTo>
                    <a:pt x="26" y="96"/>
                  </a:lnTo>
                  <a:lnTo>
                    <a:pt x="28" y="96"/>
                  </a:lnTo>
                  <a:lnTo>
                    <a:pt x="36" y="88"/>
                  </a:lnTo>
                  <a:lnTo>
                    <a:pt x="36" y="80"/>
                  </a:lnTo>
                  <a:lnTo>
                    <a:pt x="40" y="80"/>
                  </a:lnTo>
                  <a:lnTo>
                    <a:pt x="44" y="80"/>
                  </a:lnTo>
                  <a:lnTo>
                    <a:pt x="52" y="82"/>
                  </a:lnTo>
                  <a:lnTo>
                    <a:pt x="54" y="86"/>
                  </a:lnTo>
                  <a:lnTo>
                    <a:pt x="56" y="90"/>
                  </a:lnTo>
                  <a:lnTo>
                    <a:pt x="66" y="90"/>
                  </a:lnTo>
                  <a:lnTo>
                    <a:pt x="72" y="86"/>
                  </a:lnTo>
                  <a:lnTo>
                    <a:pt x="74" y="82"/>
                  </a:lnTo>
                  <a:lnTo>
                    <a:pt x="78" y="82"/>
                  </a:lnTo>
                  <a:lnTo>
                    <a:pt x="80" y="78"/>
                  </a:lnTo>
                  <a:lnTo>
                    <a:pt x="102" y="78"/>
                  </a:lnTo>
                  <a:lnTo>
                    <a:pt x="104" y="72"/>
                  </a:lnTo>
                  <a:lnTo>
                    <a:pt x="112" y="72"/>
                  </a:lnTo>
                  <a:lnTo>
                    <a:pt x="114" y="76"/>
                  </a:lnTo>
                  <a:lnTo>
                    <a:pt x="124" y="74"/>
                  </a:lnTo>
                  <a:lnTo>
                    <a:pt x="128" y="76"/>
                  </a:lnTo>
                  <a:lnTo>
                    <a:pt x="126" y="80"/>
                  </a:lnTo>
                  <a:lnTo>
                    <a:pt x="134" y="86"/>
                  </a:lnTo>
                  <a:lnTo>
                    <a:pt x="136" y="84"/>
                  </a:lnTo>
                  <a:lnTo>
                    <a:pt x="136" y="76"/>
                  </a:lnTo>
                  <a:lnTo>
                    <a:pt x="136" y="72"/>
                  </a:lnTo>
                  <a:lnTo>
                    <a:pt x="130" y="70"/>
                  </a:lnTo>
                  <a:lnTo>
                    <a:pt x="134" y="64"/>
                  </a:lnTo>
                  <a:lnTo>
                    <a:pt x="124" y="48"/>
                  </a:lnTo>
                  <a:lnTo>
                    <a:pt x="130" y="42"/>
                  </a:lnTo>
                  <a:lnTo>
                    <a:pt x="148" y="34"/>
                  </a:lnTo>
                  <a:lnTo>
                    <a:pt x="150" y="30"/>
                  </a:lnTo>
                  <a:lnTo>
                    <a:pt x="150" y="22"/>
                  </a:lnTo>
                  <a:lnTo>
                    <a:pt x="154" y="20"/>
                  </a:lnTo>
                  <a:lnTo>
                    <a:pt x="160" y="26"/>
                  </a:lnTo>
                  <a:lnTo>
                    <a:pt x="172" y="18"/>
                  </a:lnTo>
                  <a:lnTo>
                    <a:pt x="174" y="18"/>
                  </a:lnTo>
                  <a:lnTo>
                    <a:pt x="182" y="22"/>
                  </a:lnTo>
                  <a:lnTo>
                    <a:pt x="190" y="24"/>
                  </a:lnTo>
                  <a:lnTo>
                    <a:pt x="200" y="20"/>
                  </a:lnTo>
                  <a:lnTo>
                    <a:pt x="212" y="0"/>
                  </a:lnTo>
                  <a:lnTo>
                    <a:pt x="236" y="8"/>
                  </a:lnTo>
                  <a:lnTo>
                    <a:pt x="254" y="14"/>
                  </a:lnTo>
                  <a:lnTo>
                    <a:pt x="278" y="10"/>
                  </a:lnTo>
                  <a:lnTo>
                    <a:pt x="286" y="16"/>
                  </a:lnTo>
                  <a:lnTo>
                    <a:pt x="288" y="18"/>
                  </a:lnTo>
                  <a:lnTo>
                    <a:pt x="288" y="20"/>
                  </a:lnTo>
                  <a:lnTo>
                    <a:pt x="286" y="36"/>
                  </a:lnTo>
                  <a:lnTo>
                    <a:pt x="290" y="42"/>
                  </a:lnTo>
                  <a:lnTo>
                    <a:pt x="302" y="56"/>
                  </a:lnTo>
                  <a:lnTo>
                    <a:pt x="292" y="64"/>
                  </a:lnTo>
                  <a:lnTo>
                    <a:pt x="292" y="74"/>
                  </a:lnTo>
                  <a:lnTo>
                    <a:pt x="280" y="74"/>
                  </a:lnTo>
                  <a:lnTo>
                    <a:pt x="276" y="72"/>
                  </a:lnTo>
                  <a:lnTo>
                    <a:pt x="270" y="72"/>
                  </a:lnTo>
                  <a:lnTo>
                    <a:pt x="266" y="76"/>
                  </a:lnTo>
                  <a:lnTo>
                    <a:pt x="274" y="78"/>
                  </a:lnTo>
                  <a:lnTo>
                    <a:pt x="276" y="82"/>
                  </a:lnTo>
                  <a:lnTo>
                    <a:pt x="274" y="88"/>
                  </a:lnTo>
                  <a:lnTo>
                    <a:pt x="268" y="90"/>
                  </a:lnTo>
                  <a:lnTo>
                    <a:pt x="266" y="100"/>
                  </a:lnTo>
                  <a:lnTo>
                    <a:pt x="270" y="104"/>
                  </a:lnTo>
                  <a:lnTo>
                    <a:pt x="268" y="112"/>
                  </a:lnTo>
                  <a:lnTo>
                    <a:pt x="262" y="120"/>
                  </a:lnTo>
                  <a:lnTo>
                    <a:pt x="250" y="124"/>
                  </a:lnTo>
                  <a:lnTo>
                    <a:pt x="250" y="132"/>
                  </a:lnTo>
                  <a:lnTo>
                    <a:pt x="236" y="130"/>
                  </a:lnTo>
                  <a:lnTo>
                    <a:pt x="230" y="136"/>
                  </a:lnTo>
                  <a:lnTo>
                    <a:pt x="216" y="132"/>
                  </a:lnTo>
                  <a:lnTo>
                    <a:pt x="206" y="136"/>
                  </a:lnTo>
                  <a:lnTo>
                    <a:pt x="194" y="148"/>
                  </a:lnTo>
                  <a:lnTo>
                    <a:pt x="190" y="144"/>
                  </a:lnTo>
                  <a:lnTo>
                    <a:pt x="180" y="144"/>
                  </a:lnTo>
                  <a:lnTo>
                    <a:pt x="176" y="142"/>
                  </a:lnTo>
                  <a:lnTo>
                    <a:pt x="158" y="140"/>
                  </a:lnTo>
                  <a:lnTo>
                    <a:pt x="150" y="138"/>
                  </a:lnTo>
                  <a:lnTo>
                    <a:pt x="134" y="136"/>
                  </a:lnTo>
                  <a:lnTo>
                    <a:pt x="112" y="130"/>
                  </a:lnTo>
                  <a:lnTo>
                    <a:pt x="106" y="120"/>
                  </a:lnTo>
                  <a:lnTo>
                    <a:pt x="100" y="116"/>
                  </a:lnTo>
                  <a:lnTo>
                    <a:pt x="100" y="108"/>
                  </a:lnTo>
                  <a:lnTo>
                    <a:pt x="86" y="114"/>
                  </a:lnTo>
                  <a:lnTo>
                    <a:pt x="80" y="110"/>
                  </a:lnTo>
                  <a:lnTo>
                    <a:pt x="72" y="114"/>
                  </a:lnTo>
                  <a:lnTo>
                    <a:pt x="70" y="112"/>
                  </a:lnTo>
                  <a:lnTo>
                    <a:pt x="64" y="114"/>
                  </a:lnTo>
                  <a:lnTo>
                    <a:pt x="58" y="124"/>
                  </a:lnTo>
                  <a:lnTo>
                    <a:pt x="48" y="124"/>
                  </a:lnTo>
                  <a:lnTo>
                    <a:pt x="36" y="120"/>
                  </a:lnTo>
                  <a:lnTo>
                    <a:pt x="36" y="114"/>
                  </a:lnTo>
                  <a:lnTo>
                    <a:pt x="34" y="112"/>
                  </a:lnTo>
                  <a:lnTo>
                    <a:pt x="24" y="120"/>
                  </a:lnTo>
                  <a:lnTo>
                    <a:pt x="14" y="114"/>
                  </a:lnTo>
                  <a:lnTo>
                    <a:pt x="14" y="110"/>
                  </a:lnTo>
                  <a:lnTo>
                    <a:pt x="2" y="108"/>
                  </a:lnTo>
                  <a:lnTo>
                    <a:pt x="4" y="104"/>
                  </a:lnTo>
                  <a:lnTo>
                    <a:pt x="0" y="96"/>
                  </a:lnTo>
                  <a:lnTo>
                    <a:pt x="4" y="90"/>
                  </a:lnTo>
                  <a:lnTo>
                    <a:pt x="2" y="80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1" name="Freeform 29">
              <a:extLst>
                <a:ext uri="{FF2B5EF4-FFF2-40B4-BE49-F238E27FC236}">
                  <a16:creationId xmlns:a16="http://schemas.microsoft.com/office/drawing/2014/main" id="{7FE24E0B-AA28-481A-84D8-B77A5EB51DA2}"/>
                </a:ext>
              </a:extLst>
            </p:cNvPr>
            <p:cNvSpPr>
              <a:spLocks/>
            </p:cNvSpPr>
            <p:nvPr/>
          </p:nvSpPr>
          <p:spPr bwMode="gray">
            <a:xfrm>
              <a:off x="5424488" y="4686300"/>
              <a:ext cx="433387" cy="247650"/>
            </a:xfrm>
            <a:custGeom>
              <a:avLst/>
              <a:gdLst>
                <a:gd name="T0" fmla="*/ 387 w 260"/>
                <a:gd name="T1" fmla="*/ 388 h 160"/>
                <a:gd name="T2" fmla="*/ 350 w 260"/>
                <a:gd name="T3" fmla="*/ 403 h 160"/>
                <a:gd name="T4" fmla="*/ 318 w 260"/>
                <a:gd name="T5" fmla="*/ 403 h 160"/>
                <a:gd name="T6" fmla="*/ 270 w 260"/>
                <a:gd name="T7" fmla="*/ 408 h 160"/>
                <a:gd name="T8" fmla="*/ 231 w 260"/>
                <a:gd name="T9" fmla="*/ 403 h 160"/>
                <a:gd name="T10" fmla="*/ 157 w 260"/>
                <a:gd name="T11" fmla="*/ 358 h 160"/>
                <a:gd name="T12" fmla="*/ 57 w 260"/>
                <a:gd name="T13" fmla="*/ 321 h 160"/>
                <a:gd name="T14" fmla="*/ 39 w 260"/>
                <a:gd name="T15" fmla="*/ 306 h 160"/>
                <a:gd name="T16" fmla="*/ 16 w 260"/>
                <a:gd name="T17" fmla="*/ 285 h 160"/>
                <a:gd name="T18" fmla="*/ 0 w 260"/>
                <a:gd name="T19" fmla="*/ 250 h 160"/>
                <a:gd name="T20" fmla="*/ 25 w 260"/>
                <a:gd name="T21" fmla="*/ 229 h 160"/>
                <a:gd name="T22" fmla="*/ 31 w 260"/>
                <a:gd name="T23" fmla="*/ 209 h 160"/>
                <a:gd name="T24" fmla="*/ 16 w 260"/>
                <a:gd name="T25" fmla="*/ 198 h 160"/>
                <a:gd name="T26" fmla="*/ 25 w 260"/>
                <a:gd name="T27" fmla="*/ 172 h 160"/>
                <a:gd name="T28" fmla="*/ 48 w 260"/>
                <a:gd name="T29" fmla="*/ 168 h 160"/>
                <a:gd name="T30" fmla="*/ 57 w 260"/>
                <a:gd name="T31" fmla="*/ 153 h 160"/>
                <a:gd name="T32" fmla="*/ 48 w 260"/>
                <a:gd name="T33" fmla="*/ 143 h 160"/>
                <a:gd name="T34" fmla="*/ 16 w 260"/>
                <a:gd name="T35" fmla="*/ 138 h 160"/>
                <a:gd name="T36" fmla="*/ 31 w 260"/>
                <a:gd name="T37" fmla="*/ 126 h 160"/>
                <a:gd name="T38" fmla="*/ 57 w 260"/>
                <a:gd name="T39" fmla="*/ 126 h 160"/>
                <a:gd name="T40" fmla="*/ 72 w 260"/>
                <a:gd name="T41" fmla="*/ 132 h 160"/>
                <a:gd name="T42" fmla="*/ 118 w 260"/>
                <a:gd name="T43" fmla="*/ 132 h 160"/>
                <a:gd name="T44" fmla="*/ 118 w 260"/>
                <a:gd name="T45" fmla="*/ 106 h 160"/>
                <a:gd name="T46" fmla="*/ 157 w 260"/>
                <a:gd name="T47" fmla="*/ 88 h 160"/>
                <a:gd name="T48" fmla="*/ 172 w 260"/>
                <a:gd name="T49" fmla="*/ 76 h 160"/>
                <a:gd name="T50" fmla="*/ 206 w 260"/>
                <a:gd name="T51" fmla="*/ 88 h 160"/>
                <a:gd name="T52" fmla="*/ 245 w 260"/>
                <a:gd name="T53" fmla="*/ 103 h 160"/>
                <a:gd name="T54" fmla="*/ 278 w 260"/>
                <a:gd name="T55" fmla="*/ 103 h 160"/>
                <a:gd name="T56" fmla="*/ 387 w 260"/>
                <a:gd name="T57" fmla="*/ 106 h 160"/>
                <a:gd name="T58" fmla="*/ 415 w 260"/>
                <a:gd name="T59" fmla="*/ 65 h 160"/>
                <a:gd name="T60" fmla="*/ 428 w 260"/>
                <a:gd name="T61" fmla="*/ 65 h 160"/>
                <a:gd name="T62" fmla="*/ 479 w 260"/>
                <a:gd name="T63" fmla="*/ 56 h 160"/>
                <a:gd name="T64" fmla="*/ 516 w 260"/>
                <a:gd name="T65" fmla="*/ 56 h 160"/>
                <a:gd name="T66" fmla="*/ 553 w 260"/>
                <a:gd name="T67" fmla="*/ 56 h 160"/>
                <a:gd name="T68" fmla="*/ 585 w 260"/>
                <a:gd name="T69" fmla="*/ 56 h 160"/>
                <a:gd name="T70" fmla="*/ 658 w 260"/>
                <a:gd name="T71" fmla="*/ 2 h 160"/>
                <a:gd name="T72" fmla="*/ 706 w 260"/>
                <a:gd name="T73" fmla="*/ 0 h 160"/>
                <a:gd name="T74" fmla="*/ 779 w 260"/>
                <a:gd name="T75" fmla="*/ 0 h 160"/>
                <a:gd name="T76" fmla="*/ 816 w 260"/>
                <a:gd name="T77" fmla="*/ 21 h 160"/>
                <a:gd name="T78" fmla="*/ 841 w 260"/>
                <a:gd name="T79" fmla="*/ 30 h 160"/>
                <a:gd name="T80" fmla="*/ 888 w 260"/>
                <a:gd name="T81" fmla="*/ 26 h 160"/>
                <a:gd name="T82" fmla="*/ 894 w 260"/>
                <a:gd name="T83" fmla="*/ 26 h 160"/>
                <a:gd name="T84" fmla="*/ 941 w 260"/>
                <a:gd name="T85" fmla="*/ 47 h 160"/>
                <a:gd name="T86" fmla="*/ 981 w 260"/>
                <a:gd name="T87" fmla="*/ 63 h 160"/>
                <a:gd name="T88" fmla="*/ 1028 w 260"/>
                <a:gd name="T89" fmla="*/ 88 h 160"/>
                <a:gd name="T90" fmla="*/ 999 w 260"/>
                <a:gd name="T91" fmla="*/ 106 h 160"/>
                <a:gd name="T92" fmla="*/ 919 w 260"/>
                <a:gd name="T93" fmla="*/ 122 h 160"/>
                <a:gd name="T94" fmla="*/ 878 w 260"/>
                <a:gd name="T95" fmla="*/ 153 h 160"/>
                <a:gd name="T96" fmla="*/ 816 w 260"/>
                <a:gd name="T97" fmla="*/ 244 h 160"/>
                <a:gd name="T98" fmla="*/ 767 w 260"/>
                <a:gd name="T99" fmla="*/ 300 h 160"/>
                <a:gd name="T100" fmla="*/ 719 w 260"/>
                <a:gd name="T101" fmla="*/ 334 h 160"/>
                <a:gd name="T102" fmla="*/ 696 w 260"/>
                <a:gd name="T103" fmla="*/ 347 h 160"/>
                <a:gd name="T104" fmla="*/ 643 w 260"/>
                <a:gd name="T105" fmla="*/ 347 h 160"/>
                <a:gd name="T106" fmla="*/ 625 w 260"/>
                <a:gd name="T107" fmla="*/ 358 h 160"/>
                <a:gd name="T108" fmla="*/ 610 w 260"/>
                <a:gd name="T109" fmla="*/ 358 h 160"/>
                <a:gd name="T110" fmla="*/ 553 w 260"/>
                <a:gd name="T111" fmla="*/ 351 h 160"/>
                <a:gd name="T112" fmla="*/ 492 w 260"/>
                <a:gd name="T113" fmla="*/ 358 h 160"/>
                <a:gd name="T114" fmla="*/ 387 w 260"/>
                <a:gd name="T115" fmla="*/ 388 h 160"/>
                <a:gd name="T116" fmla="*/ 387 w 260"/>
                <a:gd name="T117" fmla="*/ 388 h 16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60"/>
                <a:gd name="T178" fmla="*/ 0 h 160"/>
                <a:gd name="T179" fmla="*/ 260 w 260"/>
                <a:gd name="T180" fmla="*/ 160 h 16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60" h="160">
                  <a:moveTo>
                    <a:pt x="98" y="152"/>
                  </a:moveTo>
                  <a:lnTo>
                    <a:pt x="88" y="158"/>
                  </a:lnTo>
                  <a:lnTo>
                    <a:pt x="80" y="158"/>
                  </a:lnTo>
                  <a:lnTo>
                    <a:pt x="68" y="160"/>
                  </a:lnTo>
                  <a:lnTo>
                    <a:pt x="58" y="158"/>
                  </a:lnTo>
                  <a:lnTo>
                    <a:pt x="40" y="140"/>
                  </a:lnTo>
                  <a:lnTo>
                    <a:pt x="14" y="126"/>
                  </a:lnTo>
                  <a:lnTo>
                    <a:pt x="10" y="120"/>
                  </a:lnTo>
                  <a:lnTo>
                    <a:pt x="4" y="112"/>
                  </a:lnTo>
                  <a:lnTo>
                    <a:pt x="0" y="98"/>
                  </a:lnTo>
                  <a:lnTo>
                    <a:pt x="6" y="90"/>
                  </a:lnTo>
                  <a:lnTo>
                    <a:pt x="8" y="82"/>
                  </a:lnTo>
                  <a:lnTo>
                    <a:pt x="4" y="78"/>
                  </a:lnTo>
                  <a:lnTo>
                    <a:pt x="6" y="68"/>
                  </a:lnTo>
                  <a:lnTo>
                    <a:pt x="12" y="66"/>
                  </a:lnTo>
                  <a:lnTo>
                    <a:pt x="14" y="60"/>
                  </a:lnTo>
                  <a:lnTo>
                    <a:pt x="12" y="56"/>
                  </a:lnTo>
                  <a:lnTo>
                    <a:pt x="4" y="54"/>
                  </a:lnTo>
                  <a:lnTo>
                    <a:pt x="8" y="50"/>
                  </a:lnTo>
                  <a:lnTo>
                    <a:pt x="14" y="50"/>
                  </a:lnTo>
                  <a:lnTo>
                    <a:pt x="18" y="52"/>
                  </a:lnTo>
                  <a:lnTo>
                    <a:pt x="30" y="52"/>
                  </a:lnTo>
                  <a:lnTo>
                    <a:pt x="30" y="42"/>
                  </a:lnTo>
                  <a:lnTo>
                    <a:pt x="40" y="34"/>
                  </a:lnTo>
                  <a:lnTo>
                    <a:pt x="44" y="30"/>
                  </a:lnTo>
                  <a:lnTo>
                    <a:pt x="52" y="34"/>
                  </a:lnTo>
                  <a:lnTo>
                    <a:pt x="62" y="40"/>
                  </a:lnTo>
                  <a:lnTo>
                    <a:pt x="70" y="40"/>
                  </a:lnTo>
                  <a:lnTo>
                    <a:pt x="98" y="42"/>
                  </a:lnTo>
                  <a:lnTo>
                    <a:pt x="104" y="26"/>
                  </a:lnTo>
                  <a:lnTo>
                    <a:pt x="108" y="26"/>
                  </a:lnTo>
                  <a:lnTo>
                    <a:pt x="122" y="22"/>
                  </a:lnTo>
                  <a:lnTo>
                    <a:pt x="130" y="22"/>
                  </a:lnTo>
                  <a:lnTo>
                    <a:pt x="140" y="22"/>
                  </a:lnTo>
                  <a:lnTo>
                    <a:pt x="148" y="22"/>
                  </a:lnTo>
                  <a:lnTo>
                    <a:pt x="166" y="2"/>
                  </a:lnTo>
                  <a:lnTo>
                    <a:pt x="178" y="0"/>
                  </a:lnTo>
                  <a:lnTo>
                    <a:pt x="196" y="0"/>
                  </a:lnTo>
                  <a:lnTo>
                    <a:pt x="206" y="8"/>
                  </a:lnTo>
                  <a:lnTo>
                    <a:pt x="212" y="12"/>
                  </a:lnTo>
                  <a:lnTo>
                    <a:pt x="224" y="10"/>
                  </a:lnTo>
                  <a:lnTo>
                    <a:pt x="226" y="10"/>
                  </a:lnTo>
                  <a:lnTo>
                    <a:pt x="238" y="18"/>
                  </a:lnTo>
                  <a:lnTo>
                    <a:pt x="248" y="24"/>
                  </a:lnTo>
                  <a:lnTo>
                    <a:pt x="260" y="34"/>
                  </a:lnTo>
                  <a:lnTo>
                    <a:pt x="252" y="42"/>
                  </a:lnTo>
                  <a:lnTo>
                    <a:pt x="232" y="48"/>
                  </a:lnTo>
                  <a:lnTo>
                    <a:pt x="222" y="60"/>
                  </a:lnTo>
                  <a:lnTo>
                    <a:pt x="206" y="96"/>
                  </a:lnTo>
                  <a:lnTo>
                    <a:pt x="194" y="118"/>
                  </a:lnTo>
                  <a:lnTo>
                    <a:pt x="182" y="132"/>
                  </a:lnTo>
                  <a:lnTo>
                    <a:pt x="176" y="136"/>
                  </a:lnTo>
                  <a:lnTo>
                    <a:pt x="162" y="136"/>
                  </a:lnTo>
                  <a:lnTo>
                    <a:pt x="158" y="140"/>
                  </a:lnTo>
                  <a:lnTo>
                    <a:pt x="154" y="140"/>
                  </a:lnTo>
                  <a:lnTo>
                    <a:pt x="140" y="138"/>
                  </a:lnTo>
                  <a:lnTo>
                    <a:pt x="124" y="140"/>
                  </a:lnTo>
                  <a:lnTo>
                    <a:pt x="98" y="152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2739636B-4852-40CC-B31C-E049D974CA6E}"/>
                </a:ext>
              </a:extLst>
            </p:cNvPr>
            <p:cNvSpPr>
              <a:spLocks/>
            </p:cNvSpPr>
            <p:nvPr/>
          </p:nvSpPr>
          <p:spPr bwMode="gray">
            <a:xfrm>
              <a:off x="5683250" y="4713288"/>
              <a:ext cx="600075" cy="387350"/>
            </a:xfrm>
            <a:custGeom>
              <a:avLst/>
              <a:gdLst>
                <a:gd name="T0" fmla="*/ 16 w 362"/>
                <a:gd name="T1" fmla="*/ 318 h 250"/>
                <a:gd name="T2" fmla="*/ 86 w 362"/>
                <a:gd name="T3" fmla="*/ 306 h 250"/>
                <a:gd name="T4" fmla="*/ 155 w 362"/>
                <a:gd name="T5" fmla="*/ 260 h 250"/>
                <a:gd name="T6" fmla="*/ 260 w 362"/>
                <a:gd name="T7" fmla="*/ 109 h 250"/>
                <a:gd name="T8" fmla="*/ 379 w 362"/>
                <a:gd name="T9" fmla="*/ 63 h 250"/>
                <a:gd name="T10" fmla="*/ 413 w 362"/>
                <a:gd name="T11" fmla="*/ 35 h 250"/>
                <a:gd name="T12" fmla="*/ 486 w 362"/>
                <a:gd name="T13" fmla="*/ 35 h 250"/>
                <a:gd name="T14" fmla="*/ 623 w 362"/>
                <a:gd name="T15" fmla="*/ 53 h 250"/>
                <a:gd name="T16" fmla="*/ 646 w 362"/>
                <a:gd name="T17" fmla="*/ 66 h 250"/>
                <a:gd name="T18" fmla="*/ 673 w 362"/>
                <a:gd name="T19" fmla="*/ 77 h 250"/>
                <a:gd name="T20" fmla="*/ 716 w 362"/>
                <a:gd name="T21" fmla="*/ 66 h 250"/>
                <a:gd name="T22" fmla="*/ 858 w 362"/>
                <a:gd name="T23" fmla="*/ 41 h 250"/>
                <a:gd name="T24" fmla="*/ 890 w 362"/>
                <a:gd name="T25" fmla="*/ 2 h 250"/>
                <a:gd name="T26" fmla="*/ 945 w 362"/>
                <a:gd name="T27" fmla="*/ 0 h 250"/>
                <a:gd name="T28" fmla="*/ 1036 w 362"/>
                <a:gd name="T29" fmla="*/ 93 h 250"/>
                <a:gd name="T30" fmla="*/ 1151 w 362"/>
                <a:gd name="T31" fmla="*/ 185 h 250"/>
                <a:gd name="T32" fmla="*/ 1169 w 362"/>
                <a:gd name="T33" fmla="*/ 265 h 250"/>
                <a:gd name="T34" fmla="*/ 1160 w 362"/>
                <a:gd name="T35" fmla="*/ 368 h 250"/>
                <a:gd name="T36" fmla="*/ 1145 w 362"/>
                <a:gd name="T37" fmla="*/ 388 h 250"/>
                <a:gd name="T38" fmla="*/ 1169 w 362"/>
                <a:gd name="T39" fmla="*/ 409 h 250"/>
                <a:gd name="T40" fmla="*/ 1175 w 362"/>
                <a:gd name="T41" fmla="*/ 409 h 250"/>
                <a:gd name="T42" fmla="*/ 1210 w 362"/>
                <a:gd name="T43" fmla="*/ 437 h 250"/>
                <a:gd name="T44" fmla="*/ 1253 w 362"/>
                <a:gd name="T45" fmla="*/ 424 h 250"/>
                <a:gd name="T46" fmla="*/ 1328 w 362"/>
                <a:gd name="T47" fmla="*/ 409 h 250"/>
                <a:gd name="T48" fmla="*/ 1382 w 362"/>
                <a:gd name="T49" fmla="*/ 421 h 250"/>
                <a:gd name="T50" fmla="*/ 1365 w 362"/>
                <a:gd name="T51" fmla="*/ 465 h 250"/>
                <a:gd name="T52" fmla="*/ 1319 w 362"/>
                <a:gd name="T53" fmla="*/ 493 h 250"/>
                <a:gd name="T54" fmla="*/ 1271 w 362"/>
                <a:gd name="T55" fmla="*/ 509 h 250"/>
                <a:gd name="T56" fmla="*/ 1221 w 362"/>
                <a:gd name="T57" fmla="*/ 586 h 250"/>
                <a:gd name="T58" fmla="*/ 1210 w 362"/>
                <a:gd name="T59" fmla="*/ 647 h 250"/>
                <a:gd name="T60" fmla="*/ 1074 w 362"/>
                <a:gd name="T61" fmla="*/ 621 h 250"/>
                <a:gd name="T62" fmla="*/ 1022 w 362"/>
                <a:gd name="T63" fmla="*/ 606 h 250"/>
                <a:gd name="T64" fmla="*/ 945 w 362"/>
                <a:gd name="T65" fmla="*/ 581 h 250"/>
                <a:gd name="T66" fmla="*/ 778 w 362"/>
                <a:gd name="T67" fmla="*/ 645 h 250"/>
                <a:gd name="T68" fmla="*/ 661 w 362"/>
                <a:gd name="T69" fmla="*/ 621 h 250"/>
                <a:gd name="T70" fmla="*/ 593 w 362"/>
                <a:gd name="T71" fmla="*/ 638 h 250"/>
                <a:gd name="T72" fmla="*/ 491 w 362"/>
                <a:gd name="T73" fmla="*/ 616 h 250"/>
                <a:gd name="T74" fmla="*/ 407 w 362"/>
                <a:gd name="T75" fmla="*/ 628 h 250"/>
                <a:gd name="T76" fmla="*/ 392 w 362"/>
                <a:gd name="T77" fmla="*/ 616 h 250"/>
                <a:gd name="T78" fmla="*/ 382 w 362"/>
                <a:gd name="T79" fmla="*/ 591 h 250"/>
                <a:gd name="T80" fmla="*/ 322 w 362"/>
                <a:gd name="T81" fmla="*/ 564 h 250"/>
                <a:gd name="T82" fmla="*/ 338 w 362"/>
                <a:gd name="T83" fmla="*/ 533 h 250"/>
                <a:gd name="T84" fmla="*/ 353 w 362"/>
                <a:gd name="T85" fmla="*/ 527 h 250"/>
                <a:gd name="T86" fmla="*/ 303 w 362"/>
                <a:gd name="T87" fmla="*/ 517 h 250"/>
                <a:gd name="T88" fmla="*/ 275 w 362"/>
                <a:gd name="T89" fmla="*/ 544 h 250"/>
                <a:gd name="T90" fmla="*/ 232 w 362"/>
                <a:gd name="T91" fmla="*/ 517 h 250"/>
                <a:gd name="T92" fmla="*/ 194 w 362"/>
                <a:gd name="T93" fmla="*/ 503 h 250"/>
                <a:gd name="T94" fmla="*/ 163 w 362"/>
                <a:gd name="T95" fmla="*/ 503 h 250"/>
                <a:gd name="T96" fmla="*/ 169 w 362"/>
                <a:gd name="T97" fmla="*/ 486 h 250"/>
                <a:gd name="T98" fmla="*/ 169 w 362"/>
                <a:gd name="T99" fmla="*/ 478 h 250"/>
                <a:gd name="T100" fmla="*/ 169 w 362"/>
                <a:gd name="T101" fmla="*/ 462 h 250"/>
                <a:gd name="T102" fmla="*/ 179 w 362"/>
                <a:gd name="T103" fmla="*/ 448 h 250"/>
                <a:gd name="T104" fmla="*/ 118 w 362"/>
                <a:gd name="T105" fmla="*/ 431 h 250"/>
                <a:gd name="T106" fmla="*/ 76 w 362"/>
                <a:gd name="T107" fmla="*/ 394 h 250"/>
                <a:gd name="T108" fmla="*/ 70 w 362"/>
                <a:gd name="T109" fmla="*/ 362 h 250"/>
                <a:gd name="T110" fmla="*/ 48 w 362"/>
                <a:gd name="T111" fmla="*/ 348 h 250"/>
                <a:gd name="T112" fmla="*/ 0 w 362"/>
                <a:gd name="T113" fmla="*/ 318 h 25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62"/>
                <a:gd name="T172" fmla="*/ 0 h 250"/>
                <a:gd name="T173" fmla="*/ 362 w 362"/>
                <a:gd name="T174" fmla="*/ 250 h 25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62" h="250">
                  <a:moveTo>
                    <a:pt x="0" y="122"/>
                  </a:moveTo>
                  <a:lnTo>
                    <a:pt x="4" y="122"/>
                  </a:lnTo>
                  <a:lnTo>
                    <a:pt x="8" y="118"/>
                  </a:lnTo>
                  <a:lnTo>
                    <a:pt x="22" y="118"/>
                  </a:lnTo>
                  <a:lnTo>
                    <a:pt x="28" y="114"/>
                  </a:lnTo>
                  <a:lnTo>
                    <a:pt x="40" y="100"/>
                  </a:lnTo>
                  <a:lnTo>
                    <a:pt x="52" y="78"/>
                  </a:lnTo>
                  <a:lnTo>
                    <a:pt x="68" y="42"/>
                  </a:lnTo>
                  <a:lnTo>
                    <a:pt x="78" y="30"/>
                  </a:lnTo>
                  <a:lnTo>
                    <a:pt x="98" y="24"/>
                  </a:lnTo>
                  <a:lnTo>
                    <a:pt x="106" y="16"/>
                  </a:lnTo>
                  <a:lnTo>
                    <a:pt x="108" y="14"/>
                  </a:lnTo>
                  <a:lnTo>
                    <a:pt x="120" y="16"/>
                  </a:lnTo>
                  <a:lnTo>
                    <a:pt x="126" y="14"/>
                  </a:lnTo>
                  <a:lnTo>
                    <a:pt x="142" y="18"/>
                  </a:lnTo>
                  <a:lnTo>
                    <a:pt x="162" y="20"/>
                  </a:lnTo>
                  <a:lnTo>
                    <a:pt x="168" y="18"/>
                  </a:lnTo>
                  <a:lnTo>
                    <a:pt x="168" y="26"/>
                  </a:lnTo>
                  <a:lnTo>
                    <a:pt x="174" y="26"/>
                  </a:lnTo>
                  <a:lnTo>
                    <a:pt x="176" y="30"/>
                  </a:lnTo>
                  <a:lnTo>
                    <a:pt x="182" y="30"/>
                  </a:lnTo>
                  <a:lnTo>
                    <a:pt x="186" y="26"/>
                  </a:lnTo>
                  <a:lnTo>
                    <a:pt x="190" y="20"/>
                  </a:lnTo>
                  <a:lnTo>
                    <a:pt x="224" y="16"/>
                  </a:lnTo>
                  <a:lnTo>
                    <a:pt x="230" y="12"/>
                  </a:lnTo>
                  <a:lnTo>
                    <a:pt x="232" y="2"/>
                  </a:lnTo>
                  <a:lnTo>
                    <a:pt x="242" y="2"/>
                  </a:lnTo>
                  <a:lnTo>
                    <a:pt x="246" y="0"/>
                  </a:lnTo>
                  <a:lnTo>
                    <a:pt x="258" y="4"/>
                  </a:lnTo>
                  <a:lnTo>
                    <a:pt x="270" y="36"/>
                  </a:lnTo>
                  <a:lnTo>
                    <a:pt x="288" y="64"/>
                  </a:lnTo>
                  <a:lnTo>
                    <a:pt x="300" y="72"/>
                  </a:lnTo>
                  <a:lnTo>
                    <a:pt x="306" y="92"/>
                  </a:lnTo>
                  <a:lnTo>
                    <a:pt x="304" y="102"/>
                  </a:lnTo>
                  <a:lnTo>
                    <a:pt x="300" y="128"/>
                  </a:lnTo>
                  <a:lnTo>
                    <a:pt x="302" y="142"/>
                  </a:lnTo>
                  <a:lnTo>
                    <a:pt x="302" y="148"/>
                  </a:lnTo>
                  <a:lnTo>
                    <a:pt x="298" y="150"/>
                  </a:lnTo>
                  <a:lnTo>
                    <a:pt x="302" y="152"/>
                  </a:lnTo>
                  <a:lnTo>
                    <a:pt x="304" y="158"/>
                  </a:lnTo>
                  <a:lnTo>
                    <a:pt x="306" y="158"/>
                  </a:lnTo>
                  <a:lnTo>
                    <a:pt x="308" y="164"/>
                  </a:lnTo>
                  <a:lnTo>
                    <a:pt x="316" y="168"/>
                  </a:lnTo>
                  <a:lnTo>
                    <a:pt x="326" y="170"/>
                  </a:lnTo>
                  <a:lnTo>
                    <a:pt x="326" y="164"/>
                  </a:lnTo>
                  <a:lnTo>
                    <a:pt x="334" y="164"/>
                  </a:lnTo>
                  <a:lnTo>
                    <a:pt x="346" y="158"/>
                  </a:lnTo>
                  <a:lnTo>
                    <a:pt x="358" y="160"/>
                  </a:lnTo>
                  <a:lnTo>
                    <a:pt x="360" y="162"/>
                  </a:lnTo>
                  <a:lnTo>
                    <a:pt x="362" y="170"/>
                  </a:lnTo>
                  <a:lnTo>
                    <a:pt x="356" y="180"/>
                  </a:lnTo>
                  <a:lnTo>
                    <a:pt x="352" y="188"/>
                  </a:lnTo>
                  <a:lnTo>
                    <a:pt x="344" y="190"/>
                  </a:lnTo>
                  <a:lnTo>
                    <a:pt x="338" y="190"/>
                  </a:lnTo>
                  <a:lnTo>
                    <a:pt x="332" y="196"/>
                  </a:lnTo>
                  <a:lnTo>
                    <a:pt x="322" y="210"/>
                  </a:lnTo>
                  <a:lnTo>
                    <a:pt x="318" y="226"/>
                  </a:lnTo>
                  <a:lnTo>
                    <a:pt x="316" y="246"/>
                  </a:lnTo>
                  <a:lnTo>
                    <a:pt x="316" y="250"/>
                  </a:lnTo>
                  <a:lnTo>
                    <a:pt x="304" y="248"/>
                  </a:lnTo>
                  <a:lnTo>
                    <a:pt x="280" y="240"/>
                  </a:lnTo>
                  <a:lnTo>
                    <a:pt x="272" y="234"/>
                  </a:lnTo>
                  <a:lnTo>
                    <a:pt x="266" y="234"/>
                  </a:lnTo>
                  <a:lnTo>
                    <a:pt x="256" y="224"/>
                  </a:lnTo>
                  <a:lnTo>
                    <a:pt x="246" y="224"/>
                  </a:lnTo>
                  <a:lnTo>
                    <a:pt x="234" y="230"/>
                  </a:lnTo>
                  <a:lnTo>
                    <a:pt x="202" y="248"/>
                  </a:lnTo>
                  <a:lnTo>
                    <a:pt x="196" y="248"/>
                  </a:lnTo>
                  <a:lnTo>
                    <a:pt x="172" y="240"/>
                  </a:lnTo>
                  <a:lnTo>
                    <a:pt x="166" y="240"/>
                  </a:lnTo>
                  <a:lnTo>
                    <a:pt x="154" y="246"/>
                  </a:lnTo>
                  <a:lnTo>
                    <a:pt x="148" y="248"/>
                  </a:lnTo>
                  <a:lnTo>
                    <a:pt x="128" y="238"/>
                  </a:lnTo>
                  <a:lnTo>
                    <a:pt x="120" y="238"/>
                  </a:lnTo>
                  <a:lnTo>
                    <a:pt x="106" y="242"/>
                  </a:lnTo>
                  <a:lnTo>
                    <a:pt x="102" y="242"/>
                  </a:lnTo>
                  <a:lnTo>
                    <a:pt x="102" y="238"/>
                  </a:lnTo>
                  <a:lnTo>
                    <a:pt x="106" y="230"/>
                  </a:lnTo>
                  <a:lnTo>
                    <a:pt x="100" y="228"/>
                  </a:lnTo>
                  <a:lnTo>
                    <a:pt x="92" y="224"/>
                  </a:lnTo>
                  <a:lnTo>
                    <a:pt x="84" y="218"/>
                  </a:lnTo>
                  <a:lnTo>
                    <a:pt x="82" y="210"/>
                  </a:lnTo>
                  <a:lnTo>
                    <a:pt x="88" y="206"/>
                  </a:lnTo>
                  <a:lnTo>
                    <a:pt x="94" y="206"/>
                  </a:lnTo>
                  <a:lnTo>
                    <a:pt x="92" y="204"/>
                  </a:lnTo>
                  <a:lnTo>
                    <a:pt x="82" y="196"/>
                  </a:lnTo>
                  <a:lnTo>
                    <a:pt x="78" y="200"/>
                  </a:lnTo>
                  <a:lnTo>
                    <a:pt x="74" y="206"/>
                  </a:lnTo>
                  <a:lnTo>
                    <a:pt x="72" y="210"/>
                  </a:lnTo>
                  <a:lnTo>
                    <a:pt x="64" y="204"/>
                  </a:lnTo>
                  <a:lnTo>
                    <a:pt x="60" y="200"/>
                  </a:lnTo>
                  <a:lnTo>
                    <a:pt x="50" y="200"/>
                  </a:lnTo>
                  <a:lnTo>
                    <a:pt x="50" y="194"/>
                  </a:lnTo>
                  <a:lnTo>
                    <a:pt x="46" y="194"/>
                  </a:lnTo>
                  <a:lnTo>
                    <a:pt x="42" y="194"/>
                  </a:lnTo>
                  <a:lnTo>
                    <a:pt x="40" y="190"/>
                  </a:lnTo>
                  <a:lnTo>
                    <a:pt x="44" y="188"/>
                  </a:lnTo>
                  <a:lnTo>
                    <a:pt x="48" y="186"/>
                  </a:lnTo>
                  <a:lnTo>
                    <a:pt x="44" y="184"/>
                  </a:lnTo>
                  <a:lnTo>
                    <a:pt x="40" y="182"/>
                  </a:lnTo>
                  <a:lnTo>
                    <a:pt x="44" y="178"/>
                  </a:lnTo>
                  <a:lnTo>
                    <a:pt x="46" y="176"/>
                  </a:lnTo>
                  <a:lnTo>
                    <a:pt x="46" y="172"/>
                  </a:lnTo>
                  <a:lnTo>
                    <a:pt x="40" y="170"/>
                  </a:lnTo>
                  <a:lnTo>
                    <a:pt x="30" y="166"/>
                  </a:lnTo>
                  <a:lnTo>
                    <a:pt x="18" y="154"/>
                  </a:lnTo>
                  <a:lnTo>
                    <a:pt x="20" y="152"/>
                  </a:lnTo>
                  <a:lnTo>
                    <a:pt x="18" y="148"/>
                  </a:lnTo>
                  <a:lnTo>
                    <a:pt x="18" y="140"/>
                  </a:lnTo>
                  <a:lnTo>
                    <a:pt x="14" y="140"/>
                  </a:lnTo>
                  <a:lnTo>
                    <a:pt x="12" y="134"/>
                  </a:lnTo>
                  <a:lnTo>
                    <a:pt x="2" y="130"/>
                  </a:lnTo>
                  <a:lnTo>
                    <a:pt x="0" y="122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6F999D4E-5ABA-4913-AB58-2FC6D41F2F2B}"/>
              </a:ext>
            </a:extLst>
          </p:cNvPr>
          <p:cNvCxnSpPr/>
          <p:nvPr/>
        </p:nvCxnSpPr>
        <p:spPr>
          <a:xfrm flipH="1" flipV="1">
            <a:off x="5060527" y="3382441"/>
            <a:ext cx="208663" cy="216024"/>
          </a:xfrm>
          <a:prstGeom prst="straightConnector1">
            <a:avLst/>
          </a:prstGeom>
          <a:ln w="28575">
            <a:solidFill>
              <a:srgbClr val="0066A9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5CC2BF8E-6A87-4677-85EB-4D9E082C6EFC}"/>
              </a:ext>
            </a:extLst>
          </p:cNvPr>
          <p:cNvCxnSpPr/>
          <p:nvPr/>
        </p:nvCxnSpPr>
        <p:spPr>
          <a:xfrm flipH="1" flipV="1">
            <a:off x="4799904" y="3125613"/>
            <a:ext cx="208663" cy="216024"/>
          </a:xfrm>
          <a:prstGeom prst="straightConnector1">
            <a:avLst/>
          </a:prstGeom>
          <a:ln w="28575">
            <a:solidFill>
              <a:srgbClr val="0066A9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4">
            <a:extLst>
              <a:ext uri="{FF2B5EF4-FFF2-40B4-BE49-F238E27FC236}">
                <a16:creationId xmlns:a16="http://schemas.microsoft.com/office/drawing/2014/main" id="{3C31AB94-8495-4661-A9A2-9090E037762A}"/>
              </a:ext>
            </a:extLst>
          </p:cNvPr>
          <p:cNvSpPr txBox="1"/>
          <p:nvPr/>
        </p:nvSpPr>
        <p:spPr>
          <a:xfrm>
            <a:off x="5438007" y="3065551"/>
            <a:ext cx="1164101" cy="70788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de-DE" sz="1000" b="1" i="1" dirty="0"/>
              <a:t>Exit</a:t>
            </a:r>
          </a:p>
          <a:p>
            <a:r>
              <a:rPr lang="de-DE" sz="1000" b="1" dirty="0">
                <a:solidFill>
                  <a:srgbClr val="0066AA"/>
                </a:solidFill>
              </a:rPr>
              <a:t>22,45  RON/kWh/h/y</a:t>
            </a:r>
          </a:p>
          <a:p>
            <a:r>
              <a:rPr lang="de-DE" sz="1000" b="1" dirty="0">
                <a:solidFill>
                  <a:srgbClr val="FF0000"/>
                </a:solidFill>
              </a:rPr>
              <a:t>22,67  RON/kWh/h/y</a:t>
            </a:r>
          </a:p>
          <a:p>
            <a:r>
              <a:rPr lang="de-DE" sz="1000" b="1" dirty="0">
                <a:solidFill>
                  <a:srgbClr val="005C2A"/>
                </a:solidFill>
              </a:rPr>
              <a:t>70%</a:t>
            </a:r>
            <a:endParaRPr lang="en-GB" sz="1000" b="1" dirty="0">
              <a:solidFill>
                <a:srgbClr val="005C2A"/>
              </a:solidFill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FAE30C87-8430-4B43-9612-71D02A6F7EC7}"/>
              </a:ext>
            </a:extLst>
          </p:cNvPr>
          <p:cNvSpPr txBox="1"/>
          <p:nvPr/>
        </p:nvSpPr>
        <p:spPr>
          <a:xfrm>
            <a:off x="3974384" y="2349576"/>
            <a:ext cx="1233030" cy="70788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de-DE" sz="1000" b="1" i="1" dirty="0"/>
              <a:t>Entry </a:t>
            </a:r>
          </a:p>
          <a:p>
            <a:r>
              <a:rPr lang="de-DE" sz="1000" b="1" dirty="0">
                <a:solidFill>
                  <a:srgbClr val="0066AA"/>
                </a:solidFill>
              </a:rPr>
              <a:t>1483,63 HUF/kWh/h/y</a:t>
            </a:r>
          </a:p>
          <a:p>
            <a:r>
              <a:rPr lang="de-DE" sz="1000" b="1" dirty="0">
                <a:solidFill>
                  <a:srgbClr val="FF0000"/>
                </a:solidFill>
              </a:rPr>
              <a:t>1166,99 HUF/kWh/h/y</a:t>
            </a:r>
            <a:endParaRPr lang="de-DE" sz="1000" b="1" dirty="0">
              <a:solidFill>
                <a:srgbClr val="005C2A"/>
              </a:solidFill>
            </a:endParaRPr>
          </a:p>
          <a:p>
            <a:r>
              <a:rPr lang="de-DE" sz="1000" b="1" dirty="0">
                <a:solidFill>
                  <a:srgbClr val="005C2A"/>
                </a:solidFill>
              </a:rPr>
              <a:t>70%</a:t>
            </a:r>
            <a:endParaRPr lang="en-GB" sz="1000" b="1" dirty="0">
              <a:solidFill>
                <a:srgbClr val="005C2A"/>
              </a:solidFill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A0409C9C-098F-4D61-BF3B-DBAED821E7CF}"/>
              </a:ext>
            </a:extLst>
          </p:cNvPr>
          <p:cNvSpPr txBox="1"/>
          <p:nvPr/>
        </p:nvSpPr>
        <p:spPr>
          <a:xfrm>
            <a:off x="3038937" y="3831858"/>
            <a:ext cx="114486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</a:rPr>
              <a:t>98,72 HUF/MWh</a:t>
            </a:r>
            <a:endParaRPr lang="en-GB" sz="1000" b="1" dirty="0">
              <a:solidFill>
                <a:schemeClr val="bg1"/>
              </a:solidFill>
            </a:endParaRPr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3F3A5630-F1E0-41A0-B163-2805805182B9}"/>
              </a:ext>
            </a:extLst>
          </p:cNvPr>
          <p:cNvSpPr/>
          <p:nvPr/>
        </p:nvSpPr>
        <p:spPr>
          <a:xfrm>
            <a:off x="3032416" y="1981874"/>
            <a:ext cx="45719" cy="45719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000"/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20A50079-0A48-4485-A862-002D2D3AB8AF}"/>
              </a:ext>
            </a:extLst>
          </p:cNvPr>
          <p:cNvSpPr/>
          <p:nvPr/>
        </p:nvSpPr>
        <p:spPr>
          <a:xfrm>
            <a:off x="4998065" y="3359422"/>
            <a:ext cx="46038" cy="46038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000"/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F3CEA4D0-A929-4849-BAC1-8D6C784F41CA}"/>
              </a:ext>
            </a:extLst>
          </p:cNvPr>
          <p:cNvSpPr/>
          <p:nvPr/>
        </p:nvSpPr>
        <p:spPr>
          <a:xfrm>
            <a:off x="8748464" y="4877292"/>
            <a:ext cx="46038" cy="46038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000"/>
          </a:p>
        </p:txBody>
      </p:sp>
      <p:pic>
        <p:nvPicPr>
          <p:cNvPr id="21" name="Picture 2">
            <a:extLst>
              <a:ext uri="{FF2B5EF4-FFF2-40B4-BE49-F238E27FC236}">
                <a16:creationId xmlns:a16="http://schemas.microsoft.com/office/drawing/2014/main" id="{8CEEDABB-7C63-434A-AE2C-5018800B77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1733043"/>
            <a:ext cx="413712" cy="277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2">
            <a:extLst>
              <a:ext uri="{FF2B5EF4-FFF2-40B4-BE49-F238E27FC236}">
                <a16:creationId xmlns:a16="http://schemas.microsoft.com/office/drawing/2014/main" id="{DC27269B-6636-42FE-8ED6-2A348FC730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3427" y="1778124"/>
            <a:ext cx="554679" cy="2784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4" descr="Bildergebnis für romania flag">
            <a:extLst>
              <a:ext uri="{FF2B5EF4-FFF2-40B4-BE49-F238E27FC236}">
                <a16:creationId xmlns:a16="http://schemas.microsoft.com/office/drawing/2014/main" id="{2EB216B7-6F75-4E98-8233-5F9115D98B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2823" y="3831858"/>
            <a:ext cx="504056" cy="336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feld 23">
            <a:extLst>
              <a:ext uri="{FF2B5EF4-FFF2-40B4-BE49-F238E27FC236}">
                <a16:creationId xmlns:a16="http://schemas.microsoft.com/office/drawing/2014/main" id="{015F8469-B9B5-431B-A76C-B70D2760EA02}"/>
              </a:ext>
            </a:extLst>
          </p:cNvPr>
          <p:cNvSpPr txBox="1"/>
          <p:nvPr/>
        </p:nvSpPr>
        <p:spPr>
          <a:xfrm>
            <a:off x="4865518" y="3869990"/>
            <a:ext cx="1164101" cy="70788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de-DE" sz="1000" b="1" i="1" dirty="0"/>
              <a:t>Entry</a:t>
            </a:r>
          </a:p>
          <a:p>
            <a:r>
              <a:rPr lang="de-DE" sz="1000" b="1" dirty="0">
                <a:solidFill>
                  <a:srgbClr val="0066AA"/>
                </a:solidFill>
              </a:rPr>
              <a:t>22,89  RON/kWh/h/y</a:t>
            </a:r>
          </a:p>
          <a:p>
            <a:r>
              <a:rPr lang="de-DE" sz="1000" b="1" dirty="0">
                <a:solidFill>
                  <a:srgbClr val="FF0000"/>
                </a:solidFill>
              </a:rPr>
              <a:t>23,12  RON/kWh/h/y</a:t>
            </a:r>
          </a:p>
          <a:p>
            <a:r>
              <a:rPr lang="de-DE" sz="1000" b="1" dirty="0">
                <a:solidFill>
                  <a:srgbClr val="005C2A"/>
                </a:solidFill>
              </a:rPr>
              <a:t>0%</a:t>
            </a:r>
            <a:endParaRPr lang="en-GB" sz="1000" b="1" dirty="0">
              <a:solidFill>
                <a:srgbClr val="005C2A"/>
              </a:solidFill>
            </a:endParaRP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748B6572-4D68-4A99-814B-B1CC7BA51619}"/>
              </a:ext>
            </a:extLst>
          </p:cNvPr>
          <p:cNvCxnSpPr/>
          <p:nvPr/>
        </p:nvCxnSpPr>
        <p:spPr>
          <a:xfrm>
            <a:off x="4773170" y="3208459"/>
            <a:ext cx="205882" cy="224843"/>
          </a:xfrm>
          <a:prstGeom prst="straightConnector1">
            <a:avLst/>
          </a:prstGeom>
          <a:ln w="28575">
            <a:solidFill>
              <a:srgbClr val="0066A9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C16CF42F-DE1C-43E3-92CC-0276860C45E8}"/>
              </a:ext>
            </a:extLst>
          </p:cNvPr>
          <p:cNvCxnSpPr/>
          <p:nvPr/>
        </p:nvCxnSpPr>
        <p:spPr>
          <a:xfrm>
            <a:off x="5003225" y="3439921"/>
            <a:ext cx="204200" cy="240709"/>
          </a:xfrm>
          <a:prstGeom prst="straightConnector1">
            <a:avLst/>
          </a:prstGeom>
          <a:ln w="28575">
            <a:solidFill>
              <a:srgbClr val="0066A9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F55FF181-10C7-4294-AB52-3B29D5CB0866}"/>
              </a:ext>
            </a:extLst>
          </p:cNvPr>
          <p:cNvSpPr txBox="1"/>
          <p:nvPr/>
        </p:nvSpPr>
        <p:spPr>
          <a:xfrm>
            <a:off x="3480601" y="3123252"/>
            <a:ext cx="1175322" cy="70788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de-DE" sz="1000" b="1" i="1" dirty="0"/>
              <a:t>Exit </a:t>
            </a:r>
          </a:p>
          <a:p>
            <a:r>
              <a:rPr lang="de-DE" sz="1000" b="1" dirty="0">
                <a:solidFill>
                  <a:srgbClr val="0066AA"/>
                </a:solidFill>
              </a:rPr>
              <a:t>631,25 HUF/kWh/h/y</a:t>
            </a:r>
          </a:p>
          <a:p>
            <a:r>
              <a:rPr lang="de-DE" sz="1000" b="1" dirty="0">
                <a:solidFill>
                  <a:srgbClr val="FF0000"/>
                </a:solidFill>
              </a:rPr>
              <a:t>0 HUF/kWh/h/y</a:t>
            </a:r>
            <a:endParaRPr lang="de-DE" sz="1000" b="1" dirty="0">
              <a:solidFill>
                <a:srgbClr val="005C2A"/>
              </a:solidFill>
            </a:endParaRPr>
          </a:p>
          <a:p>
            <a:r>
              <a:rPr lang="de-DE" sz="1000" b="1" dirty="0">
                <a:solidFill>
                  <a:srgbClr val="005C2A"/>
                </a:solidFill>
              </a:rPr>
              <a:t>0%</a:t>
            </a:r>
            <a:endParaRPr lang="en-GB" sz="1000" b="1" dirty="0">
              <a:solidFill>
                <a:srgbClr val="005C2A"/>
              </a:solidFill>
            </a:endParaRPr>
          </a:p>
        </p:txBody>
      </p:sp>
      <p:sp>
        <p:nvSpPr>
          <p:cNvPr id="28" name="Inhaltsplatzhalter 55">
            <a:extLst>
              <a:ext uri="{FF2B5EF4-FFF2-40B4-BE49-F238E27FC236}">
                <a16:creationId xmlns:a16="http://schemas.microsoft.com/office/drawing/2014/main" id="{948435B1-8629-47C3-B584-A8B0A7A76B04}"/>
              </a:ext>
            </a:extLst>
          </p:cNvPr>
          <p:cNvSpPr txBox="1">
            <a:spLocks/>
          </p:cNvSpPr>
          <p:nvPr/>
        </p:nvSpPr>
        <p:spPr>
          <a:xfrm>
            <a:off x="442703" y="3956405"/>
            <a:ext cx="2670924" cy="6822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1pPr>
            <a:lvl2pPr marL="268288" indent="-268288" algn="l" defTabSz="914400" rtl="0" eaLnBrk="1" latinLnBrk="0" hangingPunct="1">
              <a:spcBef>
                <a:spcPts val="500"/>
              </a:spcBef>
              <a:buClr>
                <a:srgbClr val="0066A9"/>
              </a:buClr>
              <a:buFont typeface="Arial" panose="020B0604020202020204" pitchFamily="34" charset="0"/>
              <a:buChar char="&gt;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2pPr>
            <a:lvl3pPr marL="536575" indent="-268288" algn="l" defTabSz="914400" rtl="0" eaLnBrk="1" latinLnBrk="0" hangingPunct="1">
              <a:spcBef>
                <a:spcPts val="400"/>
              </a:spcBef>
              <a:buClr>
                <a:srgbClr val="0066A9"/>
              </a:buClr>
              <a:buFont typeface="Wingdings" panose="05000000000000000000" pitchFamily="2" charset="2"/>
              <a:buChar char="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3pPr>
            <a:lvl4pPr marL="720725" indent="-273050" algn="l" defTabSz="914400" rtl="0" eaLnBrk="1" latinLnBrk="0" hangingPunct="1">
              <a:spcBef>
                <a:spcPts val="4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 dirty="0">
                <a:solidFill>
                  <a:srgbClr val="0066AA"/>
                </a:solidFill>
              </a:rPr>
              <a:t>Reserve price</a:t>
            </a:r>
          </a:p>
          <a:p>
            <a:r>
              <a:rPr lang="en-US" sz="1000" b="1" dirty="0">
                <a:solidFill>
                  <a:srgbClr val="FF0000"/>
                </a:solidFill>
              </a:rPr>
              <a:t>Minimum Premium</a:t>
            </a:r>
          </a:p>
          <a:p>
            <a:r>
              <a:rPr lang="en-US" sz="1000" b="1" dirty="0">
                <a:solidFill>
                  <a:srgbClr val="005C2A"/>
                </a:solidFill>
              </a:rPr>
              <a:t>Minimum booked incremental capacity threshold  </a:t>
            </a:r>
          </a:p>
        </p:txBody>
      </p:sp>
      <p:sp>
        <p:nvSpPr>
          <p:cNvPr id="29" name="Nach rechts gekrümmter Pfeil 38">
            <a:extLst>
              <a:ext uri="{FF2B5EF4-FFF2-40B4-BE49-F238E27FC236}">
                <a16:creationId xmlns:a16="http://schemas.microsoft.com/office/drawing/2014/main" id="{DDD23B1C-C6E0-4975-9AF4-8DB93BF90F88}"/>
              </a:ext>
            </a:extLst>
          </p:cNvPr>
          <p:cNvSpPr/>
          <p:nvPr/>
        </p:nvSpPr>
        <p:spPr>
          <a:xfrm rot="6101759">
            <a:off x="5413692" y="188946"/>
            <a:ext cx="382393" cy="2874202"/>
          </a:xfrm>
          <a:prstGeom prst="curvedRightArrow">
            <a:avLst>
              <a:gd name="adj1" fmla="val 25000"/>
              <a:gd name="adj2" fmla="val 100760"/>
              <a:gd name="adj3" fmla="val 25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7A8E0DDE-97AD-4F19-9BE6-0D2662BB080E}"/>
              </a:ext>
            </a:extLst>
          </p:cNvPr>
          <p:cNvSpPr txBox="1"/>
          <p:nvPr/>
        </p:nvSpPr>
        <p:spPr>
          <a:xfrm>
            <a:off x="5456657" y="1053517"/>
            <a:ext cx="17043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highlight>
                  <a:srgbClr val="FFFF00"/>
                </a:highlight>
              </a:rPr>
              <a:t>18,6     €/kWh/h/y</a:t>
            </a:r>
            <a:endParaRPr lang="en-GB" b="1" dirty="0">
              <a:highlight>
                <a:srgbClr val="FFFF00"/>
              </a:highlight>
            </a:endParaRPr>
          </a:p>
        </p:txBody>
      </p:sp>
      <p:sp>
        <p:nvSpPr>
          <p:cNvPr id="31" name="Nach rechts gekrümmter Pfeil 59">
            <a:extLst>
              <a:ext uri="{FF2B5EF4-FFF2-40B4-BE49-F238E27FC236}">
                <a16:creationId xmlns:a16="http://schemas.microsoft.com/office/drawing/2014/main" id="{A842B5B5-F525-4FCE-A199-F8D2BC427D54}"/>
              </a:ext>
            </a:extLst>
          </p:cNvPr>
          <p:cNvSpPr/>
          <p:nvPr/>
        </p:nvSpPr>
        <p:spPr>
          <a:xfrm rot="16823168">
            <a:off x="4808269" y="3048626"/>
            <a:ext cx="382393" cy="2949546"/>
          </a:xfrm>
          <a:prstGeom prst="curvedRightArrow">
            <a:avLst>
              <a:gd name="adj1" fmla="val 25000"/>
              <a:gd name="adj2" fmla="val 100760"/>
              <a:gd name="adj3" fmla="val 25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2255593E-A815-4423-A975-3F6C0231C251}"/>
              </a:ext>
            </a:extLst>
          </p:cNvPr>
          <p:cNvSpPr txBox="1"/>
          <p:nvPr/>
        </p:nvSpPr>
        <p:spPr>
          <a:xfrm>
            <a:off x="3247892" y="4758099"/>
            <a:ext cx="23639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~ 12,28   €/kWh/h/y</a:t>
            </a:r>
            <a:endParaRPr lang="en-GB" b="1" dirty="0"/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40165A5D-2074-46CC-A6CF-CAB4E2F9ECEF}"/>
              </a:ext>
            </a:extLst>
          </p:cNvPr>
          <p:cNvSpPr/>
          <p:nvPr/>
        </p:nvSpPr>
        <p:spPr>
          <a:xfrm>
            <a:off x="46574" y="5360317"/>
            <a:ext cx="907423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rgbClr val="000000"/>
                </a:solidFill>
                <a:latin typeface="Arial" panose="020B0604020202020204" pitchFamily="34" charset="0"/>
              </a:rPr>
              <a:t>Termination fee for </a:t>
            </a:r>
            <a:r>
              <a:rPr lang="en-US" sz="1400" b="1" i="1" dirty="0" err="1">
                <a:solidFill>
                  <a:srgbClr val="000000"/>
                </a:solidFill>
                <a:latin typeface="Arial" panose="020B0604020202020204" pitchFamily="34" charset="0"/>
              </a:rPr>
              <a:t>Transgaz</a:t>
            </a:r>
            <a:r>
              <a:rPr lang="en-US" sz="1400" b="1" i="1" dirty="0">
                <a:solidFill>
                  <a:srgbClr val="000000"/>
                </a:solidFill>
                <a:latin typeface="Arial" panose="020B0604020202020204" pitchFamily="34" charset="0"/>
              </a:rPr>
              <a:t> and FGSZ  is </a:t>
            </a:r>
            <a:r>
              <a:rPr lang="en-US" sz="1400" b="1" i="1" u="sng" dirty="0">
                <a:solidFill>
                  <a:srgbClr val="FF0000"/>
                </a:solidFill>
                <a:latin typeface="Arial" panose="020B0604020202020204" pitchFamily="34" charset="0"/>
              </a:rPr>
              <a:t>0.033%</a:t>
            </a:r>
            <a:r>
              <a:rPr lang="en-US" sz="1400" b="1" i="1" dirty="0">
                <a:solidFill>
                  <a:srgbClr val="000000"/>
                </a:solidFill>
                <a:latin typeface="Arial" panose="020B0604020202020204" pitchFamily="34" charset="0"/>
              </a:rPr>
              <a:t> of the respective value of the individual Bid </a:t>
            </a:r>
            <a:endParaRPr lang="de-DE" sz="1400" b="1" i="1" dirty="0"/>
          </a:p>
        </p:txBody>
      </p:sp>
    </p:spTree>
    <p:extLst>
      <p:ext uri="{BB962C8B-B14F-4D97-AF65-F5344CB8AC3E}">
        <p14:creationId xmlns:p14="http://schemas.microsoft.com/office/powerpoint/2010/main" val="5902681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9" dur="2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2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5" dur="2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8" dur="2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4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  <p:bldP spid="24" grpId="0" animBg="1"/>
      <p:bldP spid="27" grpId="0" animBg="1"/>
      <p:bldP spid="29" grpId="0" animBg="1"/>
      <p:bldP spid="30" grpId="0"/>
      <p:bldP spid="31" grpId="0" animBg="1"/>
      <p:bldP spid="32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E161906-FB72-4EBF-81F8-78CC6EF90B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Project costs overview ROHU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05C6803-8665-4780-958E-66CC2D3F2093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(in €) status 12.10.2017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BF52E7C-3DE7-41CD-BC9F-6D225AC5ED7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8" name="Foliennummernplatzhalter 3">
            <a:extLst>
              <a:ext uri="{FF2B5EF4-FFF2-40B4-BE49-F238E27FC236}">
                <a16:creationId xmlns:a16="http://schemas.microsoft.com/office/drawing/2014/main" id="{90084C73-CA83-40AC-A971-B23E258AA1DD}"/>
              </a:ext>
            </a:extLst>
          </p:cNvPr>
          <p:cNvSpPr txBox="1">
            <a:spLocks/>
          </p:cNvSpPr>
          <p:nvPr/>
        </p:nvSpPr>
        <p:spPr>
          <a:xfrm>
            <a:off x="7622976" y="4048423"/>
            <a:ext cx="2133600" cy="4762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600" i="1" kern="1200" baseline="0">
                <a:solidFill>
                  <a:schemeClr val="bg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1pPr>
            <a:lvl2pPr marL="268288" indent="-268288" algn="l" defTabSz="914400" rtl="0" eaLnBrk="1" latinLnBrk="0" hangingPunct="1">
              <a:spcBef>
                <a:spcPts val="500"/>
              </a:spcBef>
              <a:buClr>
                <a:srgbClr val="0066A9"/>
              </a:buClr>
              <a:buFont typeface="Arial" panose="020B0604020202020204" pitchFamily="34" charset="0"/>
              <a:buChar char="&gt;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2pPr>
            <a:lvl3pPr marL="536575" indent="-268288" algn="l" defTabSz="914400" rtl="0" eaLnBrk="1" latinLnBrk="0" hangingPunct="1">
              <a:spcBef>
                <a:spcPts val="400"/>
              </a:spcBef>
              <a:buClr>
                <a:srgbClr val="0066A9"/>
              </a:buClr>
              <a:buFont typeface="Wingdings" panose="05000000000000000000" pitchFamily="2" charset="2"/>
              <a:buChar char="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3pPr>
            <a:lvl4pPr marL="720725" indent="-273050" algn="l" defTabSz="914400" rtl="0" eaLnBrk="1" latinLnBrk="0" hangingPunct="1">
              <a:spcBef>
                <a:spcPts val="4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38FDFA3-F5B0-4BC3-9E09-D644D952F017}" type="slidenum">
              <a:rPr lang="de-DE" altLang="de-DE" smtClean="0"/>
              <a:pPr/>
              <a:t>8</a:t>
            </a:fld>
            <a:endParaRPr lang="de-DE" altLang="de-DE" dirty="0"/>
          </a:p>
        </p:txBody>
      </p:sp>
      <p:grpSp>
        <p:nvGrpSpPr>
          <p:cNvPr id="9" name="Gruppierung 1">
            <a:extLst>
              <a:ext uri="{FF2B5EF4-FFF2-40B4-BE49-F238E27FC236}">
                <a16:creationId xmlns:a16="http://schemas.microsoft.com/office/drawing/2014/main" id="{475020F1-74C9-4C91-AAC3-95FD1981D615}"/>
              </a:ext>
            </a:extLst>
          </p:cNvPr>
          <p:cNvGrpSpPr/>
          <p:nvPr/>
        </p:nvGrpSpPr>
        <p:grpSpPr>
          <a:xfrm>
            <a:off x="317879" y="1116440"/>
            <a:ext cx="7992945" cy="3421066"/>
            <a:chOff x="4992688" y="4651375"/>
            <a:chExt cx="1290637" cy="449263"/>
          </a:xfrm>
        </p:grpSpPr>
        <p:sp>
          <p:nvSpPr>
            <p:cNvPr id="10" name="Freeform 26">
              <a:extLst>
                <a:ext uri="{FF2B5EF4-FFF2-40B4-BE49-F238E27FC236}">
                  <a16:creationId xmlns:a16="http://schemas.microsoft.com/office/drawing/2014/main" id="{68EC406A-4111-42A5-B2B8-5ADCB9AF1BA1}"/>
                </a:ext>
              </a:extLst>
            </p:cNvPr>
            <p:cNvSpPr>
              <a:spLocks/>
            </p:cNvSpPr>
            <p:nvPr/>
          </p:nvSpPr>
          <p:spPr bwMode="gray">
            <a:xfrm>
              <a:off x="4992688" y="4651375"/>
              <a:ext cx="500062" cy="228600"/>
            </a:xfrm>
            <a:custGeom>
              <a:avLst/>
              <a:gdLst>
                <a:gd name="T0" fmla="*/ 31 w 302"/>
                <a:gd name="T1" fmla="*/ 209 h 148"/>
                <a:gd name="T2" fmla="*/ 48 w 302"/>
                <a:gd name="T3" fmla="*/ 207 h 148"/>
                <a:gd name="T4" fmla="*/ 70 w 302"/>
                <a:gd name="T5" fmla="*/ 215 h 148"/>
                <a:gd name="T6" fmla="*/ 86 w 302"/>
                <a:gd name="T7" fmla="*/ 229 h 148"/>
                <a:gd name="T8" fmla="*/ 100 w 302"/>
                <a:gd name="T9" fmla="*/ 244 h 148"/>
                <a:gd name="T10" fmla="*/ 138 w 302"/>
                <a:gd name="T11" fmla="*/ 224 h 148"/>
                <a:gd name="T12" fmla="*/ 155 w 302"/>
                <a:gd name="T13" fmla="*/ 207 h 148"/>
                <a:gd name="T14" fmla="*/ 198 w 302"/>
                <a:gd name="T15" fmla="*/ 209 h 148"/>
                <a:gd name="T16" fmla="*/ 217 w 302"/>
                <a:gd name="T17" fmla="*/ 229 h 148"/>
                <a:gd name="T18" fmla="*/ 275 w 302"/>
                <a:gd name="T19" fmla="*/ 220 h 148"/>
                <a:gd name="T20" fmla="*/ 303 w 302"/>
                <a:gd name="T21" fmla="*/ 209 h 148"/>
                <a:gd name="T22" fmla="*/ 392 w 302"/>
                <a:gd name="T23" fmla="*/ 198 h 148"/>
                <a:gd name="T24" fmla="*/ 429 w 302"/>
                <a:gd name="T25" fmla="*/ 184 h 148"/>
                <a:gd name="T26" fmla="*/ 477 w 302"/>
                <a:gd name="T27" fmla="*/ 189 h 148"/>
                <a:gd name="T28" fmla="*/ 486 w 302"/>
                <a:gd name="T29" fmla="*/ 207 h 148"/>
                <a:gd name="T30" fmla="*/ 523 w 302"/>
                <a:gd name="T31" fmla="*/ 215 h 148"/>
                <a:gd name="T32" fmla="*/ 523 w 302"/>
                <a:gd name="T33" fmla="*/ 184 h 148"/>
                <a:gd name="T34" fmla="*/ 516 w 302"/>
                <a:gd name="T35" fmla="*/ 164 h 148"/>
                <a:gd name="T36" fmla="*/ 499 w 302"/>
                <a:gd name="T37" fmla="*/ 106 h 148"/>
                <a:gd name="T38" fmla="*/ 577 w 302"/>
                <a:gd name="T39" fmla="*/ 76 h 148"/>
                <a:gd name="T40" fmla="*/ 593 w 302"/>
                <a:gd name="T41" fmla="*/ 50 h 148"/>
                <a:gd name="T42" fmla="*/ 661 w 302"/>
                <a:gd name="T43" fmla="*/ 47 h 148"/>
                <a:gd name="T44" fmla="*/ 700 w 302"/>
                <a:gd name="T45" fmla="*/ 56 h 148"/>
                <a:gd name="T46" fmla="*/ 770 w 302"/>
                <a:gd name="T47" fmla="*/ 50 h 148"/>
                <a:gd name="T48" fmla="*/ 905 w 302"/>
                <a:gd name="T49" fmla="*/ 21 h 148"/>
                <a:gd name="T50" fmla="*/ 1070 w 302"/>
                <a:gd name="T51" fmla="*/ 26 h 148"/>
                <a:gd name="T52" fmla="*/ 1106 w 302"/>
                <a:gd name="T53" fmla="*/ 47 h 148"/>
                <a:gd name="T54" fmla="*/ 1100 w 302"/>
                <a:gd name="T55" fmla="*/ 91 h 148"/>
                <a:gd name="T56" fmla="*/ 1160 w 302"/>
                <a:gd name="T57" fmla="*/ 143 h 148"/>
                <a:gd name="T58" fmla="*/ 1121 w 302"/>
                <a:gd name="T59" fmla="*/ 189 h 148"/>
                <a:gd name="T60" fmla="*/ 1060 w 302"/>
                <a:gd name="T61" fmla="*/ 184 h 148"/>
                <a:gd name="T62" fmla="*/ 1023 w 302"/>
                <a:gd name="T63" fmla="*/ 195 h 148"/>
                <a:gd name="T64" fmla="*/ 1060 w 302"/>
                <a:gd name="T65" fmla="*/ 209 h 148"/>
                <a:gd name="T66" fmla="*/ 1028 w 302"/>
                <a:gd name="T67" fmla="*/ 229 h 148"/>
                <a:gd name="T68" fmla="*/ 1038 w 302"/>
                <a:gd name="T69" fmla="*/ 267 h 148"/>
                <a:gd name="T70" fmla="*/ 1008 w 302"/>
                <a:gd name="T71" fmla="*/ 306 h 148"/>
                <a:gd name="T72" fmla="*/ 964 w 302"/>
                <a:gd name="T73" fmla="*/ 334 h 148"/>
                <a:gd name="T74" fmla="*/ 884 w 302"/>
                <a:gd name="T75" fmla="*/ 347 h 148"/>
                <a:gd name="T76" fmla="*/ 792 w 302"/>
                <a:gd name="T77" fmla="*/ 347 h 148"/>
                <a:gd name="T78" fmla="*/ 732 w 302"/>
                <a:gd name="T79" fmla="*/ 366 h 148"/>
                <a:gd name="T80" fmla="*/ 675 w 302"/>
                <a:gd name="T81" fmla="*/ 362 h 148"/>
                <a:gd name="T82" fmla="*/ 577 w 302"/>
                <a:gd name="T83" fmla="*/ 351 h 148"/>
                <a:gd name="T84" fmla="*/ 429 w 302"/>
                <a:gd name="T85" fmla="*/ 332 h 148"/>
                <a:gd name="T86" fmla="*/ 382 w 302"/>
                <a:gd name="T87" fmla="*/ 297 h 148"/>
                <a:gd name="T88" fmla="*/ 332 w 302"/>
                <a:gd name="T89" fmla="*/ 290 h 148"/>
                <a:gd name="T90" fmla="*/ 275 w 302"/>
                <a:gd name="T91" fmla="*/ 290 h 148"/>
                <a:gd name="T92" fmla="*/ 244 w 302"/>
                <a:gd name="T93" fmla="*/ 290 h 148"/>
                <a:gd name="T94" fmla="*/ 185 w 302"/>
                <a:gd name="T95" fmla="*/ 316 h 148"/>
                <a:gd name="T96" fmla="*/ 138 w 302"/>
                <a:gd name="T97" fmla="*/ 290 h 148"/>
                <a:gd name="T98" fmla="*/ 94 w 302"/>
                <a:gd name="T99" fmla="*/ 306 h 148"/>
                <a:gd name="T100" fmla="*/ 56 w 302"/>
                <a:gd name="T101" fmla="*/ 283 h 148"/>
                <a:gd name="T102" fmla="*/ 16 w 302"/>
                <a:gd name="T103" fmla="*/ 267 h 148"/>
                <a:gd name="T104" fmla="*/ 16 w 302"/>
                <a:gd name="T105" fmla="*/ 229 h 148"/>
                <a:gd name="T106" fmla="*/ 10 w 302"/>
                <a:gd name="T107" fmla="*/ 207 h 1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02"/>
                <a:gd name="T163" fmla="*/ 0 h 148"/>
                <a:gd name="T164" fmla="*/ 302 w 302"/>
                <a:gd name="T165" fmla="*/ 148 h 14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02" h="148">
                  <a:moveTo>
                    <a:pt x="2" y="80"/>
                  </a:moveTo>
                  <a:lnTo>
                    <a:pt x="8" y="82"/>
                  </a:lnTo>
                  <a:lnTo>
                    <a:pt x="12" y="78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8" y="84"/>
                  </a:lnTo>
                  <a:lnTo>
                    <a:pt x="22" y="86"/>
                  </a:lnTo>
                  <a:lnTo>
                    <a:pt x="22" y="90"/>
                  </a:lnTo>
                  <a:lnTo>
                    <a:pt x="26" y="90"/>
                  </a:lnTo>
                  <a:lnTo>
                    <a:pt x="26" y="96"/>
                  </a:lnTo>
                  <a:lnTo>
                    <a:pt x="28" y="96"/>
                  </a:lnTo>
                  <a:lnTo>
                    <a:pt x="36" y="88"/>
                  </a:lnTo>
                  <a:lnTo>
                    <a:pt x="36" y="80"/>
                  </a:lnTo>
                  <a:lnTo>
                    <a:pt x="40" y="80"/>
                  </a:lnTo>
                  <a:lnTo>
                    <a:pt x="44" y="80"/>
                  </a:lnTo>
                  <a:lnTo>
                    <a:pt x="52" y="82"/>
                  </a:lnTo>
                  <a:lnTo>
                    <a:pt x="54" y="86"/>
                  </a:lnTo>
                  <a:lnTo>
                    <a:pt x="56" y="90"/>
                  </a:lnTo>
                  <a:lnTo>
                    <a:pt x="66" y="90"/>
                  </a:lnTo>
                  <a:lnTo>
                    <a:pt x="72" y="86"/>
                  </a:lnTo>
                  <a:lnTo>
                    <a:pt x="74" y="82"/>
                  </a:lnTo>
                  <a:lnTo>
                    <a:pt x="78" y="82"/>
                  </a:lnTo>
                  <a:lnTo>
                    <a:pt x="80" y="78"/>
                  </a:lnTo>
                  <a:lnTo>
                    <a:pt x="102" y="78"/>
                  </a:lnTo>
                  <a:lnTo>
                    <a:pt x="104" y="72"/>
                  </a:lnTo>
                  <a:lnTo>
                    <a:pt x="112" y="72"/>
                  </a:lnTo>
                  <a:lnTo>
                    <a:pt x="114" y="76"/>
                  </a:lnTo>
                  <a:lnTo>
                    <a:pt x="124" y="74"/>
                  </a:lnTo>
                  <a:lnTo>
                    <a:pt x="128" y="76"/>
                  </a:lnTo>
                  <a:lnTo>
                    <a:pt x="126" y="80"/>
                  </a:lnTo>
                  <a:lnTo>
                    <a:pt x="134" y="86"/>
                  </a:lnTo>
                  <a:lnTo>
                    <a:pt x="136" y="84"/>
                  </a:lnTo>
                  <a:lnTo>
                    <a:pt x="136" y="76"/>
                  </a:lnTo>
                  <a:lnTo>
                    <a:pt x="136" y="72"/>
                  </a:lnTo>
                  <a:lnTo>
                    <a:pt x="130" y="70"/>
                  </a:lnTo>
                  <a:lnTo>
                    <a:pt x="134" y="64"/>
                  </a:lnTo>
                  <a:lnTo>
                    <a:pt x="124" y="48"/>
                  </a:lnTo>
                  <a:lnTo>
                    <a:pt x="130" y="42"/>
                  </a:lnTo>
                  <a:lnTo>
                    <a:pt x="148" y="34"/>
                  </a:lnTo>
                  <a:lnTo>
                    <a:pt x="150" y="30"/>
                  </a:lnTo>
                  <a:lnTo>
                    <a:pt x="150" y="22"/>
                  </a:lnTo>
                  <a:lnTo>
                    <a:pt x="154" y="20"/>
                  </a:lnTo>
                  <a:lnTo>
                    <a:pt x="160" y="26"/>
                  </a:lnTo>
                  <a:lnTo>
                    <a:pt x="172" y="18"/>
                  </a:lnTo>
                  <a:lnTo>
                    <a:pt x="174" y="18"/>
                  </a:lnTo>
                  <a:lnTo>
                    <a:pt x="182" y="22"/>
                  </a:lnTo>
                  <a:lnTo>
                    <a:pt x="190" y="24"/>
                  </a:lnTo>
                  <a:lnTo>
                    <a:pt x="200" y="20"/>
                  </a:lnTo>
                  <a:lnTo>
                    <a:pt x="212" y="0"/>
                  </a:lnTo>
                  <a:lnTo>
                    <a:pt x="236" y="8"/>
                  </a:lnTo>
                  <a:lnTo>
                    <a:pt x="254" y="14"/>
                  </a:lnTo>
                  <a:lnTo>
                    <a:pt x="278" y="10"/>
                  </a:lnTo>
                  <a:lnTo>
                    <a:pt x="286" y="16"/>
                  </a:lnTo>
                  <a:lnTo>
                    <a:pt x="288" y="18"/>
                  </a:lnTo>
                  <a:lnTo>
                    <a:pt x="288" y="20"/>
                  </a:lnTo>
                  <a:lnTo>
                    <a:pt x="286" y="36"/>
                  </a:lnTo>
                  <a:lnTo>
                    <a:pt x="290" y="42"/>
                  </a:lnTo>
                  <a:lnTo>
                    <a:pt x="302" y="56"/>
                  </a:lnTo>
                  <a:lnTo>
                    <a:pt x="292" y="64"/>
                  </a:lnTo>
                  <a:lnTo>
                    <a:pt x="292" y="74"/>
                  </a:lnTo>
                  <a:lnTo>
                    <a:pt x="280" y="74"/>
                  </a:lnTo>
                  <a:lnTo>
                    <a:pt x="276" y="72"/>
                  </a:lnTo>
                  <a:lnTo>
                    <a:pt x="270" y="72"/>
                  </a:lnTo>
                  <a:lnTo>
                    <a:pt x="266" y="76"/>
                  </a:lnTo>
                  <a:lnTo>
                    <a:pt x="274" y="78"/>
                  </a:lnTo>
                  <a:lnTo>
                    <a:pt x="276" y="82"/>
                  </a:lnTo>
                  <a:lnTo>
                    <a:pt x="274" y="88"/>
                  </a:lnTo>
                  <a:lnTo>
                    <a:pt x="268" y="90"/>
                  </a:lnTo>
                  <a:lnTo>
                    <a:pt x="266" y="100"/>
                  </a:lnTo>
                  <a:lnTo>
                    <a:pt x="270" y="104"/>
                  </a:lnTo>
                  <a:lnTo>
                    <a:pt x="268" y="112"/>
                  </a:lnTo>
                  <a:lnTo>
                    <a:pt x="262" y="120"/>
                  </a:lnTo>
                  <a:lnTo>
                    <a:pt x="250" y="124"/>
                  </a:lnTo>
                  <a:lnTo>
                    <a:pt x="250" y="132"/>
                  </a:lnTo>
                  <a:lnTo>
                    <a:pt x="236" y="130"/>
                  </a:lnTo>
                  <a:lnTo>
                    <a:pt x="230" y="136"/>
                  </a:lnTo>
                  <a:lnTo>
                    <a:pt x="216" y="132"/>
                  </a:lnTo>
                  <a:lnTo>
                    <a:pt x="206" y="136"/>
                  </a:lnTo>
                  <a:lnTo>
                    <a:pt x="194" y="148"/>
                  </a:lnTo>
                  <a:lnTo>
                    <a:pt x="190" y="144"/>
                  </a:lnTo>
                  <a:lnTo>
                    <a:pt x="180" y="144"/>
                  </a:lnTo>
                  <a:lnTo>
                    <a:pt x="176" y="142"/>
                  </a:lnTo>
                  <a:lnTo>
                    <a:pt x="158" y="140"/>
                  </a:lnTo>
                  <a:lnTo>
                    <a:pt x="150" y="138"/>
                  </a:lnTo>
                  <a:lnTo>
                    <a:pt x="134" y="136"/>
                  </a:lnTo>
                  <a:lnTo>
                    <a:pt x="112" y="130"/>
                  </a:lnTo>
                  <a:lnTo>
                    <a:pt x="106" y="120"/>
                  </a:lnTo>
                  <a:lnTo>
                    <a:pt x="100" y="116"/>
                  </a:lnTo>
                  <a:lnTo>
                    <a:pt x="100" y="108"/>
                  </a:lnTo>
                  <a:lnTo>
                    <a:pt x="86" y="114"/>
                  </a:lnTo>
                  <a:lnTo>
                    <a:pt x="80" y="110"/>
                  </a:lnTo>
                  <a:lnTo>
                    <a:pt x="72" y="114"/>
                  </a:lnTo>
                  <a:lnTo>
                    <a:pt x="70" y="112"/>
                  </a:lnTo>
                  <a:lnTo>
                    <a:pt x="64" y="114"/>
                  </a:lnTo>
                  <a:lnTo>
                    <a:pt x="58" y="124"/>
                  </a:lnTo>
                  <a:lnTo>
                    <a:pt x="48" y="124"/>
                  </a:lnTo>
                  <a:lnTo>
                    <a:pt x="36" y="120"/>
                  </a:lnTo>
                  <a:lnTo>
                    <a:pt x="36" y="114"/>
                  </a:lnTo>
                  <a:lnTo>
                    <a:pt x="34" y="112"/>
                  </a:lnTo>
                  <a:lnTo>
                    <a:pt x="24" y="120"/>
                  </a:lnTo>
                  <a:lnTo>
                    <a:pt x="14" y="114"/>
                  </a:lnTo>
                  <a:lnTo>
                    <a:pt x="14" y="110"/>
                  </a:lnTo>
                  <a:lnTo>
                    <a:pt x="2" y="108"/>
                  </a:lnTo>
                  <a:lnTo>
                    <a:pt x="4" y="104"/>
                  </a:lnTo>
                  <a:lnTo>
                    <a:pt x="0" y="96"/>
                  </a:lnTo>
                  <a:lnTo>
                    <a:pt x="4" y="90"/>
                  </a:lnTo>
                  <a:lnTo>
                    <a:pt x="2" y="80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1" name="Freeform 29">
              <a:extLst>
                <a:ext uri="{FF2B5EF4-FFF2-40B4-BE49-F238E27FC236}">
                  <a16:creationId xmlns:a16="http://schemas.microsoft.com/office/drawing/2014/main" id="{266DA8F3-C20B-4E84-B32D-EA228B48E0DF}"/>
                </a:ext>
              </a:extLst>
            </p:cNvPr>
            <p:cNvSpPr>
              <a:spLocks/>
            </p:cNvSpPr>
            <p:nvPr/>
          </p:nvSpPr>
          <p:spPr bwMode="gray">
            <a:xfrm>
              <a:off x="5424488" y="4686300"/>
              <a:ext cx="433387" cy="247650"/>
            </a:xfrm>
            <a:custGeom>
              <a:avLst/>
              <a:gdLst>
                <a:gd name="T0" fmla="*/ 387 w 260"/>
                <a:gd name="T1" fmla="*/ 388 h 160"/>
                <a:gd name="T2" fmla="*/ 350 w 260"/>
                <a:gd name="T3" fmla="*/ 403 h 160"/>
                <a:gd name="T4" fmla="*/ 318 w 260"/>
                <a:gd name="T5" fmla="*/ 403 h 160"/>
                <a:gd name="T6" fmla="*/ 270 w 260"/>
                <a:gd name="T7" fmla="*/ 408 h 160"/>
                <a:gd name="T8" fmla="*/ 231 w 260"/>
                <a:gd name="T9" fmla="*/ 403 h 160"/>
                <a:gd name="T10" fmla="*/ 157 w 260"/>
                <a:gd name="T11" fmla="*/ 358 h 160"/>
                <a:gd name="T12" fmla="*/ 57 w 260"/>
                <a:gd name="T13" fmla="*/ 321 h 160"/>
                <a:gd name="T14" fmla="*/ 39 w 260"/>
                <a:gd name="T15" fmla="*/ 306 h 160"/>
                <a:gd name="T16" fmla="*/ 16 w 260"/>
                <a:gd name="T17" fmla="*/ 285 h 160"/>
                <a:gd name="T18" fmla="*/ 0 w 260"/>
                <a:gd name="T19" fmla="*/ 250 h 160"/>
                <a:gd name="T20" fmla="*/ 25 w 260"/>
                <a:gd name="T21" fmla="*/ 229 h 160"/>
                <a:gd name="T22" fmla="*/ 31 w 260"/>
                <a:gd name="T23" fmla="*/ 209 h 160"/>
                <a:gd name="T24" fmla="*/ 16 w 260"/>
                <a:gd name="T25" fmla="*/ 198 h 160"/>
                <a:gd name="T26" fmla="*/ 25 w 260"/>
                <a:gd name="T27" fmla="*/ 172 h 160"/>
                <a:gd name="T28" fmla="*/ 48 w 260"/>
                <a:gd name="T29" fmla="*/ 168 h 160"/>
                <a:gd name="T30" fmla="*/ 57 w 260"/>
                <a:gd name="T31" fmla="*/ 153 h 160"/>
                <a:gd name="T32" fmla="*/ 48 w 260"/>
                <a:gd name="T33" fmla="*/ 143 h 160"/>
                <a:gd name="T34" fmla="*/ 16 w 260"/>
                <a:gd name="T35" fmla="*/ 138 h 160"/>
                <a:gd name="T36" fmla="*/ 31 w 260"/>
                <a:gd name="T37" fmla="*/ 126 h 160"/>
                <a:gd name="T38" fmla="*/ 57 w 260"/>
                <a:gd name="T39" fmla="*/ 126 h 160"/>
                <a:gd name="T40" fmla="*/ 72 w 260"/>
                <a:gd name="T41" fmla="*/ 132 h 160"/>
                <a:gd name="T42" fmla="*/ 118 w 260"/>
                <a:gd name="T43" fmla="*/ 132 h 160"/>
                <a:gd name="T44" fmla="*/ 118 w 260"/>
                <a:gd name="T45" fmla="*/ 106 h 160"/>
                <a:gd name="T46" fmla="*/ 157 w 260"/>
                <a:gd name="T47" fmla="*/ 88 h 160"/>
                <a:gd name="T48" fmla="*/ 172 w 260"/>
                <a:gd name="T49" fmla="*/ 76 h 160"/>
                <a:gd name="T50" fmla="*/ 206 w 260"/>
                <a:gd name="T51" fmla="*/ 88 h 160"/>
                <a:gd name="T52" fmla="*/ 245 w 260"/>
                <a:gd name="T53" fmla="*/ 103 h 160"/>
                <a:gd name="T54" fmla="*/ 278 w 260"/>
                <a:gd name="T55" fmla="*/ 103 h 160"/>
                <a:gd name="T56" fmla="*/ 387 w 260"/>
                <a:gd name="T57" fmla="*/ 106 h 160"/>
                <a:gd name="T58" fmla="*/ 415 w 260"/>
                <a:gd name="T59" fmla="*/ 65 h 160"/>
                <a:gd name="T60" fmla="*/ 428 w 260"/>
                <a:gd name="T61" fmla="*/ 65 h 160"/>
                <a:gd name="T62" fmla="*/ 479 w 260"/>
                <a:gd name="T63" fmla="*/ 56 h 160"/>
                <a:gd name="T64" fmla="*/ 516 w 260"/>
                <a:gd name="T65" fmla="*/ 56 h 160"/>
                <a:gd name="T66" fmla="*/ 553 w 260"/>
                <a:gd name="T67" fmla="*/ 56 h 160"/>
                <a:gd name="T68" fmla="*/ 585 w 260"/>
                <a:gd name="T69" fmla="*/ 56 h 160"/>
                <a:gd name="T70" fmla="*/ 658 w 260"/>
                <a:gd name="T71" fmla="*/ 2 h 160"/>
                <a:gd name="T72" fmla="*/ 706 w 260"/>
                <a:gd name="T73" fmla="*/ 0 h 160"/>
                <a:gd name="T74" fmla="*/ 779 w 260"/>
                <a:gd name="T75" fmla="*/ 0 h 160"/>
                <a:gd name="T76" fmla="*/ 816 w 260"/>
                <a:gd name="T77" fmla="*/ 21 h 160"/>
                <a:gd name="T78" fmla="*/ 841 w 260"/>
                <a:gd name="T79" fmla="*/ 30 h 160"/>
                <a:gd name="T80" fmla="*/ 888 w 260"/>
                <a:gd name="T81" fmla="*/ 26 h 160"/>
                <a:gd name="T82" fmla="*/ 894 w 260"/>
                <a:gd name="T83" fmla="*/ 26 h 160"/>
                <a:gd name="T84" fmla="*/ 941 w 260"/>
                <a:gd name="T85" fmla="*/ 47 h 160"/>
                <a:gd name="T86" fmla="*/ 981 w 260"/>
                <a:gd name="T87" fmla="*/ 63 h 160"/>
                <a:gd name="T88" fmla="*/ 1028 w 260"/>
                <a:gd name="T89" fmla="*/ 88 h 160"/>
                <a:gd name="T90" fmla="*/ 999 w 260"/>
                <a:gd name="T91" fmla="*/ 106 h 160"/>
                <a:gd name="T92" fmla="*/ 919 w 260"/>
                <a:gd name="T93" fmla="*/ 122 h 160"/>
                <a:gd name="T94" fmla="*/ 878 w 260"/>
                <a:gd name="T95" fmla="*/ 153 h 160"/>
                <a:gd name="T96" fmla="*/ 816 w 260"/>
                <a:gd name="T97" fmla="*/ 244 h 160"/>
                <a:gd name="T98" fmla="*/ 767 w 260"/>
                <a:gd name="T99" fmla="*/ 300 h 160"/>
                <a:gd name="T100" fmla="*/ 719 w 260"/>
                <a:gd name="T101" fmla="*/ 334 h 160"/>
                <a:gd name="T102" fmla="*/ 696 w 260"/>
                <a:gd name="T103" fmla="*/ 347 h 160"/>
                <a:gd name="T104" fmla="*/ 643 w 260"/>
                <a:gd name="T105" fmla="*/ 347 h 160"/>
                <a:gd name="T106" fmla="*/ 625 w 260"/>
                <a:gd name="T107" fmla="*/ 358 h 160"/>
                <a:gd name="T108" fmla="*/ 610 w 260"/>
                <a:gd name="T109" fmla="*/ 358 h 160"/>
                <a:gd name="T110" fmla="*/ 553 w 260"/>
                <a:gd name="T111" fmla="*/ 351 h 160"/>
                <a:gd name="T112" fmla="*/ 492 w 260"/>
                <a:gd name="T113" fmla="*/ 358 h 160"/>
                <a:gd name="T114" fmla="*/ 387 w 260"/>
                <a:gd name="T115" fmla="*/ 388 h 160"/>
                <a:gd name="T116" fmla="*/ 387 w 260"/>
                <a:gd name="T117" fmla="*/ 388 h 16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60"/>
                <a:gd name="T178" fmla="*/ 0 h 160"/>
                <a:gd name="T179" fmla="*/ 260 w 260"/>
                <a:gd name="T180" fmla="*/ 160 h 16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60" h="160">
                  <a:moveTo>
                    <a:pt x="98" y="152"/>
                  </a:moveTo>
                  <a:lnTo>
                    <a:pt x="88" y="158"/>
                  </a:lnTo>
                  <a:lnTo>
                    <a:pt x="80" y="158"/>
                  </a:lnTo>
                  <a:lnTo>
                    <a:pt x="68" y="160"/>
                  </a:lnTo>
                  <a:lnTo>
                    <a:pt x="58" y="158"/>
                  </a:lnTo>
                  <a:lnTo>
                    <a:pt x="40" y="140"/>
                  </a:lnTo>
                  <a:lnTo>
                    <a:pt x="14" y="126"/>
                  </a:lnTo>
                  <a:lnTo>
                    <a:pt x="10" y="120"/>
                  </a:lnTo>
                  <a:lnTo>
                    <a:pt x="4" y="112"/>
                  </a:lnTo>
                  <a:lnTo>
                    <a:pt x="0" y="98"/>
                  </a:lnTo>
                  <a:lnTo>
                    <a:pt x="6" y="90"/>
                  </a:lnTo>
                  <a:lnTo>
                    <a:pt x="8" y="82"/>
                  </a:lnTo>
                  <a:lnTo>
                    <a:pt x="4" y="78"/>
                  </a:lnTo>
                  <a:lnTo>
                    <a:pt x="6" y="68"/>
                  </a:lnTo>
                  <a:lnTo>
                    <a:pt x="12" y="66"/>
                  </a:lnTo>
                  <a:lnTo>
                    <a:pt x="14" y="60"/>
                  </a:lnTo>
                  <a:lnTo>
                    <a:pt x="12" y="56"/>
                  </a:lnTo>
                  <a:lnTo>
                    <a:pt x="4" y="54"/>
                  </a:lnTo>
                  <a:lnTo>
                    <a:pt x="8" y="50"/>
                  </a:lnTo>
                  <a:lnTo>
                    <a:pt x="14" y="50"/>
                  </a:lnTo>
                  <a:lnTo>
                    <a:pt x="18" y="52"/>
                  </a:lnTo>
                  <a:lnTo>
                    <a:pt x="30" y="52"/>
                  </a:lnTo>
                  <a:lnTo>
                    <a:pt x="30" y="42"/>
                  </a:lnTo>
                  <a:lnTo>
                    <a:pt x="40" y="34"/>
                  </a:lnTo>
                  <a:lnTo>
                    <a:pt x="44" y="30"/>
                  </a:lnTo>
                  <a:lnTo>
                    <a:pt x="52" y="34"/>
                  </a:lnTo>
                  <a:lnTo>
                    <a:pt x="62" y="40"/>
                  </a:lnTo>
                  <a:lnTo>
                    <a:pt x="70" y="40"/>
                  </a:lnTo>
                  <a:lnTo>
                    <a:pt x="98" y="42"/>
                  </a:lnTo>
                  <a:lnTo>
                    <a:pt x="104" y="26"/>
                  </a:lnTo>
                  <a:lnTo>
                    <a:pt x="108" y="26"/>
                  </a:lnTo>
                  <a:lnTo>
                    <a:pt x="122" y="22"/>
                  </a:lnTo>
                  <a:lnTo>
                    <a:pt x="130" y="22"/>
                  </a:lnTo>
                  <a:lnTo>
                    <a:pt x="140" y="22"/>
                  </a:lnTo>
                  <a:lnTo>
                    <a:pt x="148" y="22"/>
                  </a:lnTo>
                  <a:lnTo>
                    <a:pt x="166" y="2"/>
                  </a:lnTo>
                  <a:lnTo>
                    <a:pt x="178" y="0"/>
                  </a:lnTo>
                  <a:lnTo>
                    <a:pt x="196" y="0"/>
                  </a:lnTo>
                  <a:lnTo>
                    <a:pt x="206" y="8"/>
                  </a:lnTo>
                  <a:lnTo>
                    <a:pt x="212" y="12"/>
                  </a:lnTo>
                  <a:lnTo>
                    <a:pt x="224" y="10"/>
                  </a:lnTo>
                  <a:lnTo>
                    <a:pt x="226" y="10"/>
                  </a:lnTo>
                  <a:lnTo>
                    <a:pt x="238" y="18"/>
                  </a:lnTo>
                  <a:lnTo>
                    <a:pt x="248" y="24"/>
                  </a:lnTo>
                  <a:lnTo>
                    <a:pt x="260" y="34"/>
                  </a:lnTo>
                  <a:lnTo>
                    <a:pt x="252" y="42"/>
                  </a:lnTo>
                  <a:lnTo>
                    <a:pt x="232" y="48"/>
                  </a:lnTo>
                  <a:lnTo>
                    <a:pt x="222" y="60"/>
                  </a:lnTo>
                  <a:lnTo>
                    <a:pt x="206" y="96"/>
                  </a:lnTo>
                  <a:lnTo>
                    <a:pt x="194" y="118"/>
                  </a:lnTo>
                  <a:lnTo>
                    <a:pt x="182" y="132"/>
                  </a:lnTo>
                  <a:lnTo>
                    <a:pt x="176" y="136"/>
                  </a:lnTo>
                  <a:lnTo>
                    <a:pt x="162" y="136"/>
                  </a:lnTo>
                  <a:lnTo>
                    <a:pt x="158" y="140"/>
                  </a:lnTo>
                  <a:lnTo>
                    <a:pt x="154" y="140"/>
                  </a:lnTo>
                  <a:lnTo>
                    <a:pt x="140" y="138"/>
                  </a:lnTo>
                  <a:lnTo>
                    <a:pt x="124" y="140"/>
                  </a:lnTo>
                  <a:lnTo>
                    <a:pt x="98" y="152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D76C5BC5-E64A-4A77-BCFB-9A3D48254334}"/>
                </a:ext>
              </a:extLst>
            </p:cNvPr>
            <p:cNvSpPr>
              <a:spLocks/>
            </p:cNvSpPr>
            <p:nvPr/>
          </p:nvSpPr>
          <p:spPr bwMode="gray">
            <a:xfrm>
              <a:off x="5683250" y="4713288"/>
              <a:ext cx="600075" cy="387350"/>
            </a:xfrm>
            <a:custGeom>
              <a:avLst/>
              <a:gdLst>
                <a:gd name="T0" fmla="*/ 16 w 362"/>
                <a:gd name="T1" fmla="*/ 318 h 250"/>
                <a:gd name="T2" fmla="*/ 86 w 362"/>
                <a:gd name="T3" fmla="*/ 306 h 250"/>
                <a:gd name="T4" fmla="*/ 155 w 362"/>
                <a:gd name="T5" fmla="*/ 260 h 250"/>
                <a:gd name="T6" fmla="*/ 260 w 362"/>
                <a:gd name="T7" fmla="*/ 109 h 250"/>
                <a:gd name="T8" fmla="*/ 379 w 362"/>
                <a:gd name="T9" fmla="*/ 63 h 250"/>
                <a:gd name="T10" fmla="*/ 413 w 362"/>
                <a:gd name="T11" fmla="*/ 35 h 250"/>
                <a:gd name="T12" fmla="*/ 486 w 362"/>
                <a:gd name="T13" fmla="*/ 35 h 250"/>
                <a:gd name="T14" fmla="*/ 623 w 362"/>
                <a:gd name="T15" fmla="*/ 53 h 250"/>
                <a:gd name="T16" fmla="*/ 646 w 362"/>
                <a:gd name="T17" fmla="*/ 66 h 250"/>
                <a:gd name="T18" fmla="*/ 673 w 362"/>
                <a:gd name="T19" fmla="*/ 77 h 250"/>
                <a:gd name="T20" fmla="*/ 716 w 362"/>
                <a:gd name="T21" fmla="*/ 66 h 250"/>
                <a:gd name="T22" fmla="*/ 858 w 362"/>
                <a:gd name="T23" fmla="*/ 41 h 250"/>
                <a:gd name="T24" fmla="*/ 890 w 362"/>
                <a:gd name="T25" fmla="*/ 2 h 250"/>
                <a:gd name="T26" fmla="*/ 945 w 362"/>
                <a:gd name="T27" fmla="*/ 0 h 250"/>
                <a:gd name="T28" fmla="*/ 1036 w 362"/>
                <a:gd name="T29" fmla="*/ 93 h 250"/>
                <a:gd name="T30" fmla="*/ 1151 w 362"/>
                <a:gd name="T31" fmla="*/ 185 h 250"/>
                <a:gd name="T32" fmla="*/ 1169 w 362"/>
                <a:gd name="T33" fmla="*/ 265 h 250"/>
                <a:gd name="T34" fmla="*/ 1160 w 362"/>
                <a:gd name="T35" fmla="*/ 368 h 250"/>
                <a:gd name="T36" fmla="*/ 1145 w 362"/>
                <a:gd name="T37" fmla="*/ 388 h 250"/>
                <a:gd name="T38" fmla="*/ 1169 w 362"/>
                <a:gd name="T39" fmla="*/ 409 h 250"/>
                <a:gd name="T40" fmla="*/ 1175 w 362"/>
                <a:gd name="T41" fmla="*/ 409 h 250"/>
                <a:gd name="T42" fmla="*/ 1210 w 362"/>
                <a:gd name="T43" fmla="*/ 437 h 250"/>
                <a:gd name="T44" fmla="*/ 1253 w 362"/>
                <a:gd name="T45" fmla="*/ 424 h 250"/>
                <a:gd name="T46" fmla="*/ 1328 w 362"/>
                <a:gd name="T47" fmla="*/ 409 h 250"/>
                <a:gd name="T48" fmla="*/ 1382 w 362"/>
                <a:gd name="T49" fmla="*/ 421 h 250"/>
                <a:gd name="T50" fmla="*/ 1365 w 362"/>
                <a:gd name="T51" fmla="*/ 465 h 250"/>
                <a:gd name="T52" fmla="*/ 1319 w 362"/>
                <a:gd name="T53" fmla="*/ 493 h 250"/>
                <a:gd name="T54" fmla="*/ 1271 w 362"/>
                <a:gd name="T55" fmla="*/ 509 h 250"/>
                <a:gd name="T56" fmla="*/ 1221 w 362"/>
                <a:gd name="T57" fmla="*/ 586 h 250"/>
                <a:gd name="T58" fmla="*/ 1210 w 362"/>
                <a:gd name="T59" fmla="*/ 647 h 250"/>
                <a:gd name="T60" fmla="*/ 1074 w 362"/>
                <a:gd name="T61" fmla="*/ 621 h 250"/>
                <a:gd name="T62" fmla="*/ 1022 w 362"/>
                <a:gd name="T63" fmla="*/ 606 h 250"/>
                <a:gd name="T64" fmla="*/ 945 w 362"/>
                <a:gd name="T65" fmla="*/ 581 h 250"/>
                <a:gd name="T66" fmla="*/ 778 w 362"/>
                <a:gd name="T67" fmla="*/ 645 h 250"/>
                <a:gd name="T68" fmla="*/ 661 w 362"/>
                <a:gd name="T69" fmla="*/ 621 h 250"/>
                <a:gd name="T70" fmla="*/ 593 w 362"/>
                <a:gd name="T71" fmla="*/ 638 h 250"/>
                <a:gd name="T72" fmla="*/ 491 w 362"/>
                <a:gd name="T73" fmla="*/ 616 h 250"/>
                <a:gd name="T74" fmla="*/ 407 w 362"/>
                <a:gd name="T75" fmla="*/ 628 h 250"/>
                <a:gd name="T76" fmla="*/ 392 w 362"/>
                <a:gd name="T77" fmla="*/ 616 h 250"/>
                <a:gd name="T78" fmla="*/ 382 w 362"/>
                <a:gd name="T79" fmla="*/ 591 h 250"/>
                <a:gd name="T80" fmla="*/ 322 w 362"/>
                <a:gd name="T81" fmla="*/ 564 h 250"/>
                <a:gd name="T82" fmla="*/ 338 w 362"/>
                <a:gd name="T83" fmla="*/ 533 h 250"/>
                <a:gd name="T84" fmla="*/ 353 w 362"/>
                <a:gd name="T85" fmla="*/ 527 h 250"/>
                <a:gd name="T86" fmla="*/ 303 w 362"/>
                <a:gd name="T87" fmla="*/ 517 h 250"/>
                <a:gd name="T88" fmla="*/ 275 w 362"/>
                <a:gd name="T89" fmla="*/ 544 h 250"/>
                <a:gd name="T90" fmla="*/ 232 w 362"/>
                <a:gd name="T91" fmla="*/ 517 h 250"/>
                <a:gd name="T92" fmla="*/ 194 w 362"/>
                <a:gd name="T93" fmla="*/ 503 h 250"/>
                <a:gd name="T94" fmla="*/ 163 w 362"/>
                <a:gd name="T95" fmla="*/ 503 h 250"/>
                <a:gd name="T96" fmla="*/ 169 w 362"/>
                <a:gd name="T97" fmla="*/ 486 h 250"/>
                <a:gd name="T98" fmla="*/ 169 w 362"/>
                <a:gd name="T99" fmla="*/ 478 h 250"/>
                <a:gd name="T100" fmla="*/ 169 w 362"/>
                <a:gd name="T101" fmla="*/ 462 h 250"/>
                <a:gd name="T102" fmla="*/ 179 w 362"/>
                <a:gd name="T103" fmla="*/ 448 h 250"/>
                <a:gd name="T104" fmla="*/ 118 w 362"/>
                <a:gd name="T105" fmla="*/ 431 h 250"/>
                <a:gd name="T106" fmla="*/ 76 w 362"/>
                <a:gd name="T107" fmla="*/ 394 h 250"/>
                <a:gd name="T108" fmla="*/ 70 w 362"/>
                <a:gd name="T109" fmla="*/ 362 h 250"/>
                <a:gd name="T110" fmla="*/ 48 w 362"/>
                <a:gd name="T111" fmla="*/ 348 h 250"/>
                <a:gd name="T112" fmla="*/ 0 w 362"/>
                <a:gd name="T113" fmla="*/ 318 h 25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62"/>
                <a:gd name="T172" fmla="*/ 0 h 250"/>
                <a:gd name="T173" fmla="*/ 362 w 362"/>
                <a:gd name="T174" fmla="*/ 250 h 25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62" h="250">
                  <a:moveTo>
                    <a:pt x="0" y="122"/>
                  </a:moveTo>
                  <a:lnTo>
                    <a:pt x="4" y="122"/>
                  </a:lnTo>
                  <a:lnTo>
                    <a:pt x="8" y="118"/>
                  </a:lnTo>
                  <a:lnTo>
                    <a:pt x="22" y="118"/>
                  </a:lnTo>
                  <a:lnTo>
                    <a:pt x="28" y="114"/>
                  </a:lnTo>
                  <a:lnTo>
                    <a:pt x="40" y="100"/>
                  </a:lnTo>
                  <a:lnTo>
                    <a:pt x="52" y="78"/>
                  </a:lnTo>
                  <a:lnTo>
                    <a:pt x="68" y="42"/>
                  </a:lnTo>
                  <a:lnTo>
                    <a:pt x="78" y="30"/>
                  </a:lnTo>
                  <a:lnTo>
                    <a:pt x="98" y="24"/>
                  </a:lnTo>
                  <a:lnTo>
                    <a:pt x="106" y="16"/>
                  </a:lnTo>
                  <a:lnTo>
                    <a:pt x="108" y="14"/>
                  </a:lnTo>
                  <a:lnTo>
                    <a:pt x="120" y="16"/>
                  </a:lnTo>
                  <a:lnTo>
                    <a:pt x="126" y="14"/>
                  </a:lnTo>
                  <a:lnTo>
                    <a:pt x="142" y="18"/>
                  </a:lnTo>
                  <a:lnTo>
                    <a:pt x="162" y="20"/>
                  </a:lnTo>
                  <a:lnTo>
                    <a:pt x="168" y="18"/>
                  </a:lnTo>
                  <a:lnTo>
                    <a:pt x="168" y="26"/>
                  </a:lnTo>
                  <a:lnTo>
                    <a:pt x="174" y="26"/>
                  </a:lnTo>
                  <a:lnTo>
                    <a:pt x="176" y="30"/>
                  </a:lnTo>
                  <a:lnTo>
                    <a:pt x="182" y="30"/>
                  </a:lnTo>
                  <a:lnTo>
                    <a:pt x="186" y="26"/>
                  </a:lnTo>
                  <a:lnTo>
                    <a:pt x="190" y="20"/>
                  </a:lnTo>
                  <a:lnTo>
                    <a:pt x="224" y="16"/>
                  </a:lnTo>
                  <a:lnTo>
                    <a:pt x="230" y="12"/>
                  </a:lnTo>
                  <a:lnTo>
                    <a:pt x="232" y="2"/>
                  </a:lnTo>
                  <a:lnTo>
                    <a:pt x="242" y="2"/>
                  </a:lnTo>
                  <a:lnTo>
                    <a:pt x="246" y="0"/>
                  </a:lnTo>
                  <a:lnTo>
                    <a:pt x="258" y="4"/>
                  </a:lnTo>
                  <a:lnTo>
                    <a:pt x="270" y="36"/>
                  </a:lnTo>
                  <a:lnTo>
                    <a:pt x="288" y="64"/>
                  </a:lnTo>
                  <a:lnTo>
                    <a:pt x="300" y="72"/>
                  </a:lnTo>
                  <a:lnTo>
                    <a:pt x="306" y="92"/>
                  </a:lnTo>
                  <a:lnTo>
                    <a:pt x="304" y="102"/>
                  </a:lnTo>
                  <a:lnTo>
                    <a:pt x="300" y="128"/>
                  </a:lnTo>
                  <a:lnTo>
                    <a:pt x="302" y="142"/>
                  </a:lnTo>
                  <a:lnTo>
                    <a:pt x="302" y="148"/>
                  </a:lnTo>
                  <a:lnTo>
                    <a:pt x="298" y="150"/>
                  </a:lnTo>
                  <a:lnTo>
                    <a:pt x="302" y="152"/>
                  </a:lnTo>
                  <a:lnTo>
                    <a:pt x="304" y="158"/>
                  </a:lnTo>
                  <a:lnTo>
                    <a:pt x="306" y="158"/>
                  </a:lnTo>
                  <a:lnTo>
                    <a:pt x="308" y="164"/>
                  </a:lnTo>
                  <a:lnTo>
                    <a:pt x="316" y="168"/>
                  </a:lnTo>
                  <a:lnTo>
                    <a:pt x="326" y="170"/>
                  </a:lnTo>
                  <a:lnTo>
                    <a:pt x="326" y="164"/>
                  </a:lnTo>
                  <a:lnTo>
                    <a:pt x="334" y="164"/>
                  </a:lnTo>
                  <a:lnTo>
                    <a:pt x="346" y="158"/>
                  </a:lnTo>
                  <a:lnTo>
                    <a:pt x="358" y="160"/>
                  </a:lnTo>
                  <a:lnTo>
                    <a:pt x="360" y="162"/>
                  </a:lnTo>
                  <a:lnTo>
                    <a:pt x="362" y="170"/>
                  </a:lnTo>
                  <a:lnTo>
                    <a:pt x="356" y="180"/>
                  </a:lnTo>
                  <a:lnTo>
                    <a:pt x="352" y="188"/>
                  </a:lnTo>
                  <a:lnTo>
                    <a:pt x="344" y="190"/>
                  </a:lnTo>
                  <a:lnTo>
                    <a:pt x="338" y="190"/>
                  </a:lnTo>
                  <a:lnTo>
                    <a:pt x="332" y="196"/>
                  </a:lnTo>
                  <a:lnTo>
                    <a:pt x="322" y="210"/>
                  </a:lnTo>
                  <a:lnTo>
                    <a:pt x="318" y="226"/>
                  </a:lnTo>
                  <a:lnTo>
                    <a:pt x="316" y="246"/>
                  </a:lnTo>
                  <a:lnTo>
                    <a:pt x="316" y="250"/>
                  </a:lnTo>
                  <a:lnTo>
                    <a:pt x="304" y="248"/>
                  </a:lnTo>
                  <a:lnTo>
                    <a:pt x="280" y="240"/>
                  </a:lnTo>
                  <a:lnTo>
                    <a:pt x="272" y="234"/>
                  </a:lnTo>
                  <a:lnTo>
                    <a:pt x="266" y="234"/>
                  </a:lnTo>
                  <a:lnTo>
                    <a:pt x="256" y="224"/>
                  </a:lnTo>
                  <a:lnTo>
                    <a:pt x="246" y="224"/>
                  </a:lnTo>
                  <a:lnTo>
                    <a:pt x="234" y="230"/>
                  </a:lnTo>
                  <a:lnTo>
                    <a:pt x="202" y="248"/>
                  </a:lnTo>
                  <a:lnTo>
                    <a:pt x="196" y="248"/>
                  </a:lnTo>
                  <a:lnTo>
                    <a:pt x="172" y="240"/>
                  </a:lnTo>
                  <a:lnTo>
                    <a:pt x="166" y="240"/>
                  </a:lnTo>
                  <a:lnTo>
                    <a:pt x="154" y="246"/>
                  </a:lnTo>
                  <a:lnTo>
                    <a:pt x="148" y="248"/>
                  </a:lnTo>
                  <a:lnTo>
                    <a:pt x="128" y="238"/>
                  </a:lnTo>
                  <a:lnTo>
                    <a:pt x="120" y="238"/>
                  </a:lnTo>
                  <a:lnTo>
                    <a:pt x="106" y="242"/>
                  </a:lnTo>
                  <a:lnTo>
                    <a:pt x="102" y="242"/>
                  </a:lnTo>
                  <a:lnTo>
                    <a:pt x="102" y="238"/>
                  </a:lnTo>
                  <a:lnTo>
                    <a:pt x="106" y="230"/>
                  </a:lnTo>
                  <a:lnTo>
                    <a:pt x="100" y="228"/>
                  </a:lnTo>
                  <a:lnTo>
                    <a:pt x="92" y="224"/>
                  </a:lnTo>
                  <a:lnTo>
                    <a:pt x="84" y="218"/>
                  </a:lnTo>
                  <a:lnTo>
                    <a:pt x="82" y="210"/>
                  </a:lnTo>
                  <a:lnTo>
                    <a:pt x="88" y="206"/>
                  </a:lnTo>
                  <a:lnTo>
                    <a:pt x="94" y="206"/>
                  </a:lnTo>
                  <a:lnTo>
                    <a:pt x="92" y="204"/>
                  </a:lnTo>
                  <a:lnTo>
                    <a:pt x="82" y="196"/>
                  </a:lnTo>
                  <a:lnTo>
                    <a:pt x="78" y="200"/>
                  </a:lnTo>
                  <a:lnTo>
                    <a:pt x="74" y="206"/>
                  </a:lnTo>
                  <a:lnTo>
                    <a:pt x="72" y="210"/>
                  </a:lnTo>
                  <a:lnTo>
                    <a:pt x="64" y="204"/>
                  </a:lnTo>
                  <a:lnTo>
                    <a:pt x="60" y="200"/>
                  </a:lnTo>
                  <a:lnTo>
                    <a:pt x="50" y="200"/>
                  </a:lnTo>
                  <a:lnTo>
                    <a:pt x="50" y="194"/>
                  </a:lnTo>
                  <a:lnTo>
                    <a:pt x="46" y="194"/>
                  </a:lnTo>
                  <a:lnTo>
                    <a:pt x="42" y="194"/>
                  </a:lnTo>
                  <a:lnTo>
                    <a:pt x="40" y="190"/>
                  </a:lnTo>
                  <a:lnTo>
                    <a:pt x="44" y="188"/>
                  </a:lnTo>
                  <a:lnTo>
                    <a:pt x="48" y="186"/>
                  </a:lnTo>
                  <a:lnTo>
                    <a:pt x="44" y="184"/>
                  </a:lnTo>
                  <a:lnTo>
                    <a:pt x="40" y="182"/>
                  </a:lnTo>
                  <a:lnTo>
                    <a:pt x="44" y="178"/>
                  </a:lnTo>
                  <a:lnTo>
                    <a:pt x="46" y="176"/>
                  </a:lnTo>
                  <a:lnTo>
                    <a:pt x="46" y="172"/>
                  </a:lnTo>
                  <a:lnTo>
                    <a:pt x="40" y="170"/>
                  </a:lnTo>
                  <a:lnTo>
                    <a:pt x="30" y="166"/>
                  </a:lnTo>
                  <a:lnTo>
                    <a:pt x="18" y="154"/>
                  </a:lnTo>
                  <a:lnTo>
                    <a:pt x="20" y="152"/>
                  </a:lnTo>
                  <a:lnTo>
                    <a:pt x="18" y="148"/>
                  </a:lnTo>
                  <a:lnTo>
                    <a:pt x="18" y="140"/>
                  </a:lnTo>
                  <a:lnTo>
                    <a:pt x="14" y="140"/>
                  </a:lnTo>
                  <a:lnTo>
                    <a:pt x="12" y="134"/>
                  </a:lnTo>
                  <a:lnTo>
                    <a:pt x="2" y="130"/>
                  </a:lnTo>
                  <a:lnTo>
                    <a:pt x="0" y="122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E7B46DFD-60CA-4DC9-BDD2-C223B1B6843E}"/>
              </a:ext>
            </a:extLst>
          </p:cNvPr>
          <p:cNvCxnSpPr/>
          <p:nvPr/>
        </p:nvCxnSpPr>
        <p:spPr>
          <a:xfrm flipH="1" flipV="1">
            <a:off x="4921696" y="2894242"/>
            <a:ext cx="208663" cy="216024"/>
          </a:xfrm>
          <a:prstGeom prst="straightConnector1">
            <a:avLst/>
          </a:prstGeom>
          <a:ln w="28575">
            <a:solidFill>
              <a:srgbClr val="0066A9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D4B2F306-A667-47DE-8878-36A63ECB4918}"/>
              </a:ext>
            </a:extLst>
          </p:cNvPr>
          <p:cNvCxnSpPr/>
          <p:nvPr/>
        </p:nvCxnSpPr>
        <p:spPr>
          <a:xfrm flipH="1" flipV="1">
            <a:off x="4687834" y="2664563"/>
            <a:ext cx="208663" cy="216024"/>
          </a:xfrm>
          <a:prstGeom prst="straightConnector1">
            <a:avLst/>
          </a:prstGeom>
          <a:ln w="28575">
            <a:solidFill>
              <a:srgbClr val="0066A9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9EA86ED4-8259-4883-8BC0-BB95066412AB}"/>
              </a:ext>
            </a:extLst>
          </p:cNvPr>
          <p:cNvCxnSpPr/>
          <p:nvPr/>
        </p:nvCxnSpPr>
        <p:spPr>
          <a:xfrm>
            <a:off x="4641435" y="2732784"/>
            <a:ext cx="208664" cy="200965"/>
          </a:xfrm>
          <a:prstGeom prst="straightConnector1">
            <a:avLst/>
          </a:prstGeom>
          <a:ln w="28575">
            <a:solidFill>
              <a:srgbClr val="0066A9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0CEFE0BB-2C15-4D1B-94AC-5993EAA655E7}"/>
              </a:ext>
            </a:extLst>
          </p:cNvPr>
          <p:cNvSpPr txBox="1"/>
          <p:nvPr/>
        </p:nvSpPr>
        <p:spPr>
          <a:xfrm>
            <a:off x="5668751" y="1274668"/>
            <a:ext cx="8002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</a:rPr>
              <a:t>2,69 % m3</a:t>
            </a:r>
            <a:endParaRPr lang="en-GB" sz="1000" b="1" dirty="0">
              <a:solidFill>
                <a:schemeClr val="bg1"/>
              </a:solidFill>
            </a:endParaRPr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3132C027-906E-4CAF-BF8B-E30AE91DC94A}"/>
              </a:ext>
            </a:extLst>
          </p:cNvPr>
          <p:cNvSpPr/>
          <p:nvPr/>
        </p:nvSpPr>
        <p:spPr>
          <a:xfrm>
            <a:off x="4207756" y="1616741"/>
            <a:ext cx="46038" cy="46038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000"/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03494902-F986-4027-A9DA-8266B2A03E42}"/>
              </a:ext>
            </a:extLst>
          </p:cNvPr>
          <p:cNvSpPr/>
          <p:nvPr/>
        </p:nvSpPr>
        <p:spPr>
          <a:xfrm>
            <a:off x="3242286" y="1421151"/>
            <a:ext cx="46038" cy="46038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000"/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AAF7B1EF-902E-402F-9ED1-BC9A104D2AB9}"/>
              </a:ext>
            </a:extLst>
          </p:cNvPr>
          <p:cNvSpPr/>
          <p:nvPr/>
        </p:nvSpPr>
        <p:spPr>
          <a:xfrm>
            <a:off x="3304503" y="1832765"/>
            <a:ext cx="46038" cy="46038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000"/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C87875D8-FF5A-47B3-B8AA-956BE9C407E3}"/>
              </a:ext>
            </a:extLst>
          </p:cNvPr>
          <p:cNvSpPr/>
          <p:nvPr/>
        </p:nvSpPr>
        <p:spPr>
          <a:xfrm>
            <a:off x="4894880" y="2871223"/>
            <a:ext cx="46038" cy="46038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000"/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B1BC9C7E-BF29-41FF-9CA9-4D3E454652C7}"/>
              </a:ext>
            </a:extLst>
          </p:cNvPr>
          <p:cNvSpPr/>
          <p:nvPr/>
        </p:nvSpPr>
        <p:spPr>
          <a:xfrm>
            <a:off x="7980925" y="3491578"/>
            <a:ext cx="46038" cy="46038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000"/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6E80B7F3-648F-42B0-923F-D040488D217E}"/>
              </a:ext>
            </a:extLst>
          </p:cNvPr>
          <p:cNvSpPr/>
          <p:nvPr/>
        </p:nvSpPr>
        <p:spPr>
          <a:xfrm>
            <a:off x="7827987" y="4157423"/>
            <a:ext cx="46038" cy="46038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000"/>
          </a:p>
        </p:txBody>
      </p:sp>
      <p:pic>
        <p:nvPicPr>
          <p:cNvPr id="23" name="Picture 2">
            <a:extLst>
              <a:ext uri="{FF2B5EF4-FFF2-40B4-BE49-F238E27FC236}">
                <a16:creationId xmlns:a16="http://schemas.microsoft.com/office/drawing/2014/main" id="{37C1F492-2B32-4293-9585-E33F00CB16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7471" y="1577963"/>
            <a:ext cx="413712" cy="277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Ellipse 23">
            <a:extLst>
              <a:ext uri="{FF2B5EF4-FFF2-40B4-BE49-F238E27FC236}">
                <a16:creationId xmlns:a16="http://schemas.microsoft.com/office/drawing/2014/main" id="{81689F54-F1D6-4BB8-B4DA-08E23A79E6C3}"/>
              </a:ext>
            </a:extLst>
          </p:cNvPr>
          <p:cNvSpPr/>
          <p:nvPr/>
        </p:nvSpPr>
        <p:spPr>
          <a:xfrm>
            <a:off x="2833464" y="1618527"/>
            <a:ext cx="46038" cy="45719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000"/>
          </a:p>
        </p:txBody>
      </p:sp>
      <p:pic>
        <p:nvPicPr>
          <p:cNvPr id="25" name="Picture 2">
            <a:extLst>
              <a:ext uri="{FF2B5EF4-FFF2-40B4-BE49-F238E27FC236}">
                <a16:creationId xmlns:a16="http://schemas.microsoft.com/office/drawing/2014/main" id="{459F90C0-1A0D-4B8C-9818-A92CF53DD3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7834" y="1548790"/>
            <a:ext cx="554679" cy="2784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4" descr="Bildergebnis für romania flag">
            <a:extLst>
              <a:ext uri="{FF2B5EF4-FFF2-40B4-BE49-F238E27FC236}">
                <a16:creationId xmlns:a16="http://schemas.microsoft.com/office/drawing/2014/main" id="{E5FD0B75-0610-4589-BFEF-9DA9CB1317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0245" y="3725360"/>
            <a:ext cx="504056" cy="336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7" name="Textfeld 26">
                <a:extLst>
                  <a:ext uri="{FF2B5EF4-FFF2-40B4-BE49-F238E27FC236}">
                    <a16:creationId xmlns:a16="http://schemas.microsoft.com/office/drawing/2014/main" id="{03A1CB28-040A-48A7-AC1C-975F1646E62C}"/>
                  </a:ext>
                </a:extLst>
              </p:cNvPr>
              <p:cNvSpPr txBox="1"/>
              <p:nvPr/>
            </p:nvSpPr>
            <p:spPr>
              <a:xfrm>
                <a:off x="3263100" y="2341473"/>
                <a:ext cx="1287532" cy="553998"/>
              </a:xfrm>
              <a:prstGeom prst="rect">
                <a:avLst/>
              </a:prstGeom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de-DE" sz="1000" b="1" i="1" dirty="0" smtClean="0">
                        <a:solidFill>
                          <a:srgbClr val="0066AA"/>
                        </a:solidFill>
                        <a:latin typeface="Cambria Math"/>
                      </a:rPr>
                      <m:t>𝑷𝑽𝒂𝒓</m:t>
                    </m:r>
                    <m:r>
                      <a:rPr lang="de-DE" sz="1000" b="1" i="1" dirty="0" smtClean="0">
                        <a:solidFill>
                          <a:srgbClr val="0066AA"/>
                        </a:solidFill>
                        <a:latin typeface="Cambria Math"/>
                      </a:rPr>
                      <m:t> </m:t>
                    </m:r>
                  </m:oMath>
                </a14:m>
                <a:r>
                  <a:rPr lang="de-DE" sz="1000" b="1" dirty="0">
                    <a:solidFill>
                      <a:srgbClr val="0066AA"/>
                    </a:solidFill>
                  </a:rPr>
                  <a:t>= 259.312.258 €</a:t>
                </a:r>
              </a:p>
              <a:p>
                <a:r>
                  <a:rPr lang="de-DE" sz="1000" b="1" dirty="0"/>
                  <a:t>f = 0,47662</a:t>
                </a:r>
              </a:p>
              <a:p>
                <a:r>
                  <a:rPr lang="de-DE" sz="1000" b="1" dirty="0" err="1">
                    <a:solidFill>
                      <a:srgbClr val="005C2A"/>
                    </a:solidFill>
                  </a:rPr>
                  <a:t>PVuc</a:t>
                </a:r>
                <a:r>
                  <a:rPr lang="de-DE" sz="1000" b="1" dirty="0">
                    <a:solidFill>
                      <a:srgbClr val="005C2A"/>
                    </a:solidFill>
                  </a:rPr>
                  <a:t> = 123.593.408 €</a:t>
                </a:r>
                <a:endParaRPr lang="en-GB" sz="1000" b="1" dirty="0">
                  <a:solidFill>
                    <a:srgbClr val="005C2A"/>
                  </a:solidFill>
                </a:endParaRPr>
              </a:p>
            </p:txBody>
          </p:sp>
        </mc:Choice>
        <mc:Fallback xmlns="">
          <p:sp>
            <p:nvSpPr>
              <p:cNvPr id="27" name="Textfeld 26">
                <a:extLst>
                  <a:ext uri="{FF2B5EF4-FFF2-40B4-BE49-F238E27FC236}">
                    <a16:creationId xmlns:a16="http://schemas.microsoft.com/office/drawing/2014/main" id="{03A1CB28-040A-48A7-AC1C-975F1646E62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63100" y="2341473"/>
                <a:ext cx="1287532" cy="553998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Textfeld 27">
                <a:extLst>
                  <a:ext uri="{FF2B5EF4-FFF2-40B4-BE49-F238E27FC236}">
                    <a16:creationId xmlns:a16="http://schemas.microsoft.com/office/drawing/2014/main" id="{370D6394-FE36-4E40-A44B-F3A54A7A29E3}"/>
                  </a:ext>
                </a:extLst>
              </p:cNvPr>
              <p:cNvSpPr txBox="1"/>
              <p:nvPr/>
            </p:nvSpPr>
            <p:spPr>
              <a:xfrm>
                <a:off x="5268068" y="2695254"/>
                <a:ext cx="1287532" cy="553998"/>
              </a:xfrm>
              <a:prstGeom prst="rect">
                <a:avLst/>
              </a:prstGeom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de-DE" sz="1000" b="1" i="1" dirty="0" smtClean="0">
                        <a:solidFill>
                          <a:srgbClr val="0066AA"/>
                        </a:solidFill>
                        <a:latin typeface="Cambria Math"/>
                      </a:rPr>
                      <m:t>𝑷𝑽𝒂𝒓</m:t>
                    </m:r>
                  </m:oMath>
                </a14:m>
                <a:r>
                  <a:rPr lang="de-DE" sz="1000" b="1" dirty="0">
                    <a:solidFill>
                      <a:srgbClr val="0066AA"/>
                    </a:solidFill>
                  </a:rPr>
                  <a:t> = 441.445.497 €</a:t>
                </a:r>
              </a:p>
              <a:p>
                <a:r>
                  <a:rPr lang="de-DE" sz="1000" b="1" dirty="0"/>
                  <a:t>f = 0,75</a:t>
                </a:r>
              </a:p>
              <a:p>
                <a:r>
                  <a:rPr lang="de-DE" sz="1000" b="1" dirty="0" err="1">
                    <a:solidFill>
                      <a:srgbClr val="005C2A"/>
                    </a:solidFill>
                  </a:rPr>
                  <a:t>PVuc</a:t>
                </a:r>
                <a:r>
                  <a:rPr lang="de-DE" sz="1000" b="1" dirty="0">
                    <a:solidFill>
                      <a:srgbClr val="005C2A"/>
                    </a:solidFill>
                  </a:rPr>
                  <a:t> = 331.084.122 €</a:t>
                </a:r>
                <a:endParaRPr lang="en-GB" sz="1000" b="1" dirty="0">
                  <a:solidFill>
                    <a:srgbClr val="005C2A"/>
                  </a:solidFill>
                </a:endParaRPr>
              </a:p>
            </p:txBody>
          </p:sp>
        </mc:Choice>
        <mc:Fallback xmlns="">
          <p:sp>
            <p:nvSpPr>
              <p:cNvPr id="28" name="Textfeld 27">
                <a:extLst>
                  <a:ext uri="{FF2B5EF4-FFF2-40B4-BE49-F238E27FC236}">
                    <a16:creationId xmlns:a16="http://schemas.microsoft.com/office/drawing/2014/main" id="{370D6394-FE36-4E40-A44B-F3A54A7A29E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68068" y="2695254"/>
                <a:ext cx="1287532" cy="553998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" name="Inhaltsplatzhalter 63">
                <a:extLst>
                  <a:ext uri="{FF2B5EF4-FFF2-40B4-BE49-F238E27FC236}">
                    <a16:creationId xmlns:a16="http://schemas.microsoft.com/office/drawing/2014/main" id="{B46C6495-5255-4920-A3CB-9229E398C2D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07504" y="3336557"/>
                <a:ext cx="2191626" cy="1733808"/>
              </a:xfrm>
              <a:prstGeom prst="rect">
                <a:avLst/>
              </a:prstGeom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rtlCol="0">
                <a:spAutoFit/>
              </a:bodyPr>
              <a:lstStyle>
                <a:lvl1pPr marL="0" indent="0" algn="l" defTabSz="914400" rtl="0" eaLnBrk="1" latinLnBrk="0" hangingPunct="1">
                  <a:spcBef>
                    <a:spcPts val="500"/>
                  </a:spcBef>
                  <a:buFont typeface="Arial" pitchFamily="34" charset="0"/>
                  <a:buNone/>
                  <a:defRPr sz="1600" kern="1200">
                    <a:solidFill>
                      <a:schemeClr val="tx1"/>
                    </a:solidFill>
                    <a:latin typeface="+mj-lt"/>
                    <a:ea typeface="+mn-ea"/>
                    <a:cs typeface="Arial" pitchFamily="34" charset="0"/>
                  </a:defRPr>
                </a:lvl1pPr>
                <a:lvl2pPr marL="268288" indent="-268288" algn="l" defTabSz="914400" rtl="0" eaLnBrk="1" latinLnBrk="0" hangingPunct="1">
                  <a:spcBef>
                    <a:spcPts val="500"/>
                  </a:spcBef>
                  <a:buClr>
                    <a:srgbClr val="0066A9"/>
                  </a:buClr>
                  <a:buFont typeface="Arial" panose="020B0604020202020204" pitchFamily="34" charset="0"/>
                  <a:buChar char="&gt;"/>
                  <a:defRPr sz="1600" kern="1200">
                    <a:solidFill>
                      <a:schemeClr val="tx1"/>
                    </a:solidFill>
                    <a:latin typeface="+mj-lt"/>
                    <a:ea typeface="+mn-ea"/>
                    <a:cs typeface="Arial" pitchFamily="34" charset="0"/>
                  </a:defRPr>
                </a:lvl2pPr>
                <a:lvl3pPr marL="536575" indent="-268288" algn="l" defTabSz="914400" rtl="0" eaLnBrk="1" latinLnBrk="0" hangingPunct="1">
                  <a:spcBef>
                    <a:spcPts val="400"/>
                  </a:spcBef>
                  <a:buClr>
                    <a:srgbClr val="0066A9"/>
                  </a:buClr>
                  <a:buFont typeface="Wingdings" panose="05000000000000000000" pitchFamily="2" charset="2"/>
                  <a:buChar char=""/>
                  <a:defRPr sz="1600" kern="1200">
                    <a:solidFill>
                      <a:schemeClr val="tx1"/>
                    </a:solidFill>
                    <a:latin typeface="+mj-lt"/>
                    <a:ea typeface="+mn-ea"/>
                    <a:cs typeface="Arial" pitchFamily="34" charset="0"/>
                  </a:defRPr>
                </a:lvl3pPr>
                <a:lvl4pPr marL="720725" indent="-273050" algn="l" defTabSz="914400" rtl="0" eaLnBrk="1" latinLnBrk="0" hangingPunct="1">
                  <a:spcBef>
                    <a:spcPts val="400"/>
                  </a:spcBef>
                  <a:buFont typeface="Symbol" panose="05050102010706020507" pitchFamily="18" charset="2"/>
                  <a:buChar char="-"/>
                  <a:defRPr sz="1600" kern="1200">
                    <a:solidFill>
                      <a:schemeClr val="tx1"/>
                    </a:solidFill>
                    <a:latin typeface="+mj-lt"/>
                    <a:ea typeface="+mn-ea"/>
                    <a:cs typeface="Arial" pitchFamily="34" charset="0"/>
                  </a:defRPr>
                </a:lvl4pPr>
                <a:lvl5pPr marL="896938" indent="-269875" algn="l" defTabSz="914400" rtl="0" eaLnBrk="1" latinLnBrk="0" hangingPunct="1">
                  <a:spcBef>
                    <a:spcPts val="400"/>
                  </a:spcBef>
                  <a:buFont typeface="Arial" pitchFamily="34" charset="0"/>
                  <a:buChar char="–"/>
                  <a:defRPr sz="1600" kern="1200">
                    <a:solidFill>
                      <a:schemeClr val="tx1"/>
                    </a:solidFill>
                    <a:latin typeface="+mj-lt"/>
                    <a:ea typeface="+mn-ea"/>
                    <a:cs typeface="Arial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de-DE" sz="1800" b="1" dirty="0"/>
                  <a:t>Economic </a:t>
                </a:r>
                <a:r>
                  <a:rPr lang="de-DE" sz="1800" b="1" dirty="0" err="1"/>
                  <a:t>test</a:t>
                </a:r>
                <a:endParaRPr lang="de-DE" sz="1800" b="1" dirty="0"/>
              </a:p>
              <a:p>
                <a:endParaRPr lang="de-DE" sz="1800" b="1" dirty="0"/>
              </a:p>
              <a:p>
                <a14:m>
                  <m:oMath xmlns:m="http://schemas.openxmlformats.org/officeDocument/2006/math">
                    <m:r>
                      <a:rPr lang="de-DE" sz="1800" b="1" i="1" dirty="0" smtClean="0">
                        <a:solidFill>
                          <a:srgbClr val="0066AA"/>
                        </a:solidFill>
                        <a:highlight>
                          <a:srgbClr val="FFFF00"/>
                        </a:highlight>
                        <a:latin typeface="Cambria Math"/>
                      </a:rPr>
                      <m:t>𝑷𝑽𝒂𝒓</m:t>
                    </m:r>
                  </m:oMath>
                </a14:m>
                <a:r>
                  <a:rPr lang="de-DE" sz="1800" b="1" dirty="0">
                    <a:solidFill>
                      <a:srgbClr val="0066AA"/>
                    </a:solidFill>
                    <a:highlight>
                      <a:srgbClr val="FFFF00"/>
                    </a:highlight>
                  </a:rPr>
                  <a:t> = 700.755.754 €</a:t>
                </a:r>
              </a:p>
              <a:p>
                <a:r>
                  <a:rPr lang="de-DE" sz="1800" b="1" dirty="0"/>
                  <a:t>f ~ 0,6488</a:t>
                </a:r>
              </a:p>
              <a:p>
                <a:r>
                  <a:rPr lang="de-DE" sz="1800" b="1" i="1" dirty="0">
                    <a:solidFill>
                      <a:srgbClr val="005C2A"/>
                    </a:solidFill>
                  </a:rPr>
                  <a:t>PV </a:t>
                </a:r>
                <a:r>
                  <a:rPr lang="de-DE" sz="1800" b="1" i="1" dirty="0" err="1">
                    <a:solidFill>
                      <a:srgbClr val="005C2A"/>
                    </a:solidFill>
                  </a:rPr>
                  <a:t>uc</a:t>
                </a:r>
                <a:r>
                  <a:rPr lang="de-DE" sz="1800" b="1" i="1" dirty="0">
                    <a:solidFill>
                      <a:srgbClr val="005C2A"/>
                    </a:solidFill>
                  </a:rPr>
                  <a:t> </a:t>
                </a:r>
                <a:r>
                  <a:rPr lang="de-DE" sz="1800" b="1" dirty="0">
                    <a:solidFill>
                      <a:srgbClr val="005C2A"/>
                    </a:solidFill>
                  </a:rPr>
                  <a:t>= 454.677.530 €</a:t>
                </a:r>
                <a:endParaRPr lang="en-GB" sz="1800" b="1" dirty="0">
                  <a:solidFill>
                    <a:srgbClr val="005C2A"/>
                  </a:solidFill>
                </a:endParaRPr>
              </a:p>
            </p:txBody>
          </p:sp>
        </mc:Choice>
        <mc:Fallback xmlns="">
          <p:sp>
            <p:nvSpPr>
              <p:cNvPr id="29" name="Inhaltsplatzhalter 63">
                <a:extLst>
                  <a:ext uri="{FF2B5EF4-FFF2-40B4-BE49-F238E27FC236}">
                    <a16:creationId xmlns:a16="http://schemas.microsoft.com/office/drawing/2014/main" id="{B46C6495-5255-4920-A3CB-9229E398C2D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7504" y="3336557"/>
                <a:ext cx="2191626" cy="1733808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86BA4A1C-BD8A-4951-B4CC-A8149D46F757}"/>
              </a:ext>
            </a:extLst>
          </p:cNvPr>
          <p:cNvCxnSpPr/>
          <p:nvPr/>
        </p:nvCxnSpPr>
        <p:spPr>
          <a:xfrm>
            <a:off x="4877424" y="2963516"/>
            <a:ext cx="208664" cy="200965"/>
          </a:xfrm>
          <a:prstGeom prst="straightConnector1">
            <a:avLst/>
          </a:prstGeom>
          <a:ln w="28575">
            <a:solidFill>
              <a:srgbClr val="0066A9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52919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28" grpId="0" animBg="1"/>
      <p:bldP spid="29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6" name="Rechteck: obere Ecken abgerundet 5"/>
          <p:cNvSpPr/>
          <p:nvPr/>
        </p:nvSpPr>
        <p:spPr>
          <a:xfrm rot="16200000">
            <a:off x="5901552" y="-801587"/>
            <a:ext cx="540000" cy="5976937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b="1" dirty="0">
              <a:solidFill>
                <a:schemeClr val="accent1"/>
              </a:solidFill>
            </a:endParaRPr>
          </a:p>
        </p:txBody>
      </p:sp>
      <p:sp>
        <p:nvSpPr>
          <p:cNvPr id="7" name="Rechteck: obere Ecken abgerundet 6"/>
          <p:cNvSpPr/>
          <p:nvPr/>
        </p:nvSpPr>
        <p:spPr>
          <a:xfrm rot="16200000">
            <a:off x="5901554" y="-132641"/>
            <a:ext cx="540000" cy="5976937"/>
          </a:xfrm>
          <a:prstGeom prst="round2SameRect">
            <a:avLst>
              <a:gd name="adj1" fmla="val 17861"/>
              <a:gd name="adj2" fmla="val 0"/>
            </a:avLst>
          </a:prstGeom>
          <a:solidFill>
            <a:schemeClr val="accent1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b="1" u="none" dirty="0">
              <a:solidFill>
                <a:schemeClr val="bg1"/>
              </a:solidFill>
            </a:endParaRPr>
          </a:p>
        </p:txBody>
      </p:sp>
      <p:sp>
        <p:nvSpPr>
          <p:cNvPr id="8" name="Rechteck: obere Ecken abgerundet 7"/>
          <p:cNvSpPr/>
          <p:nvPr/>
        </p:nvSpPr>
        <p:spPr>
          <a:xfrm rot="16200000">
            <a:off x="5901553" y="-1499185"/>
            <a:ext cx="540000" cy="5976937"/>
          </a:xfrm>
          <a:prstGeom prst="round2SameRect">
            <a:avLst>
              <a:gd name="adj1" fmla="val 17861"/>
              <a:gd name="adj2" fmla="val 0"/>
            </a:avLst>
          </a:prstGeom>
          <a:solidFill>
            <a:schemeClr val="bg1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216000" rIns="0" rtlCol="0" anchor="ctr"/>
          <a:lstStyle/>
          <a:p>
            <a:endParaRPr lang="de-DE" b="1" dirty="0">
              <a:solidFill>
                <a:schemeClr val="accent1"/>
              </a:solidFill>
            </a:endParaRPr>
          </a:p>
        </p:txBody>
      </p:sp>
      <p:sp>
        <p:nvSpPr>
          <p:cNvPr id="9" name="Rechteck: obere Ecken abgerundet 8"/>
          <p:cNvSpPr/>
          <p:nvPr/>
        </p:nvSpPr>
        <p:spPr>
          <a:xfrm rot="16200000">
            <a:off x="5901553" y="595328"/>
            <a:ext cx="540000" cy="5976937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b="1" dirty="0">
              <a:solidFill>
                <a:schemeClr val="accent1"/>
              </a:solidFill>
            </a:endParaRPr>
          </a:p>
        </p:txBody>
      </p:sp>
      <p:sp>
        <p:nvSpPr>
          <p:cNvPr id="10" name="Rechteck: obere Ecken abgerundet 9"/>
          <p:cNvSpPr/>
          <p:nvPr/>
        </p:nvSpPr>
        <p:spPr>
          <a:xfrm rot="16200000">
            <a:off x="5901553" y="1293501"/>
            <a:ext cx="540000" cy="5976937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b="1" dirty="0">
              <a:solidFill>
                <a:schemeClr val="accent1"/>
              </a:solidFill>
            </a:endParaRPr>
          </a:p>
        </p:txBody>
      </p:sp>
      <p:sp>
        <p:nvSpPr>
          <p:cNvPr id="11" name="Inhaltsplatzhalter 5"/>
          <p:cNvSpPr txBox="1">
            <a:spLocks/>
          </p:cNvSpPr>
          <p:nvPr/>
        </p:nvSpPr>
        <p:spPr>
          <a:xfrm>
            <a:off x="3455876" y="1302263"/>
            <a:ext cx="5364274" cy="374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800" b="1" kern="1200">
                <a:solidFill>
                  <a:schemeClr val="bg1"/>
                </a:solidFill>
                <a:latin typeface="+mj-lt"/>
                <a:ea typeface="+mn-ea"/>
                <a:cs typeface="Arial" pitchFamily="34" charset="0"/>
              </a:defRPr>
            </a:lvl1pPr>
            <a:lvl2pPr marL="179388" indent="-179388" algn="l" defTabSz="914400" rtl="0" eaLnBrk="1" latinLnBrk="0" hangingPunct="1">
              <a:spcBef>
                <a:spcPts val="5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47675" indent="-268288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7063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0" dirty="0">
                <a:solidFill>
                  <a:schemeClr val="accent1"/>
                </a:solidFill>
              </a:rPr>
              <a:t>1. </a:t>
            </a:r>
            <a:r>
              <a:rPr lang="de-DE" b="0" dirty="0">
                <a:solidFill>
                  <a:srgbClr val="0066A9"/>
                </a:solidFill>
              </a:rPr>
              <a:t>ROHUAT </a:t>
            </a:r>
            <a:r>
              <a:rPr lang="de-DE" b="0" dirty="0" err="1">
                <a:solidFill>
                  <a:srgbClr val="0066A9"/>
                </a:solidFill>
              </a:rPr>
              <a:t>status</a:t>
            </a:r>
            <a:r>
              <a:rPr lang="de-DE" b="0" dirty="0">
                <a:solidFill>
                  <a:srgbClr val="0066A9"/>
                </a:solidFill>
              </a:rPr>
              <a:t> on 27 April 2017</a:t>
            </a:r>
            <a:endParaRPr lang="de-DE" b="0" dirty="0">
              <a:solidFill>
                <a:schemeClr val="accent1"/>
              </a:solidFill>
            </a:endParaRPr>
          </a:p>
        </p:txBody>
      </p:sp>
      <p:sp>
        <p:nvSpPr>
          <p:cNvPr id="12" name="Inhaltsplatzhalter 5"/>
          <p:cNvSpPr txBox="1">
            <a:spLocks/>
          </p:cNvSpPr>
          <p:nvPr/>
        </p:nvSpPr>
        <p:spPr>
          <a:xfrm>
            <a:off x="3455876" y="2000434"/>
            <a:ext cx="5364274" cy="374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800" b="0" kern="1200" baseline="0">
                <a:solidFill>
                  <a:schemeClr val="accent1"/>
                </a:solidFill>
                <a:latin typeface="+mj-lt"/>
                <a:ea typeface="+mn-ea"/>
                <a:cs typeface="Arial" pitchFamily="34" charset="0"/>
              </a:defRPr>
            </a:lvl1pPr>
            <a:lvl2pPr marL="179388" indent="-179388" algn="l" defTabSz="914400" rtl="0" eaLnBrk="1" latinLnBrk="0" hangingPunct="1">
              <a:spcBef>
                <a:spcPts val="5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47675" indent="-268288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7063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rgbClr val="0066A9"/>
                </a:solidFill>
              </a:rPr>
              <a:t>2. ROHU     </a:t>
            </a:r>
            <a:r>
              <a:rPr lang="de-DE" dirty="0" err="1">
                <a:solidFill>
                  <a:srgbClr val="0066A9"/>
                </a:solidFill>
              </a:rPr>
              <a:t>status</a:t>
            </a:r>
            <a:r>
              <a:rPr lang="de-DE" dirty="0">
                <a:solidFill>
                  <a:srgbClr val="0066A9"/>
                </a:solidFill>
              </a:rPr>
              <a:t> on 12 </a:t>
            </a:r>
            <a:r>
              <a:rPr lang="de-DE" dirty="0" err="1">
                <a:solidFill>
                  <a:srgbClr val="0066A9"/>
                </a:solidFill>
              </a:rPr>
              <a:t>October</a:t>
            </a:r>
            <a:r>
              <a:rPr lang="de-DE" dirty="0">
                <a:solidFill>
                  <a:srgbClr val="0066A9"/>
                </a:solidFill>
              </a:rPr>
              <a:t> 2017 </a:t>
            </a:r>
            <a:r>
              <a:rPr lang="de-DE" b="1" dirty="0">
                <a:solidFill>
                  <a:schemeClr val="bg1"/>
                </a:solidFill>
              </a:rPr>
              <a:t>Musterabschnitt</a:t>
            </a:r>
          </a:p>
        </p:txBody>
      </p:sp>
      <p:sp>
        <p:nvSpPr>
          <p:cNvPr id="13" name="Inhaltsplatzhalter 5"/>
          <p:cNvSpPr txBox="1">
            <a:spLocks/>
          </p:cNvSpPr>
          <p:nvPr/>
        </p:nvSpPr>
        <p:spPr>
          <a:xfrm>
            <a:off x="3455876" y="2698605"/>
            <a:ext cx="5364274" cy="374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Arial" pitchFamily="34" charset="0"/>
              </a:defRPr>
            </a:lvl1pPr>
            <a:lvl2pPr marL="179388" indent="-179388" algn="l" defTabSz="914400" rtl="0" eaLnBrk="1" latinLnBrk="0" hangingPunct="1">
              <a:spcBef>
                <a:spcPts val="5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47675" indent="-268288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7063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bg1"/>
                </a:solidFill>
              </a:rPr>
              <a:t>3. HUAT (</a:t>
            </a:r>
            <a:r>
              <a:rPr lang="de-DE" dirty="0" err="1">
                <a:solidFill>
                  <a:schemeClr val="bg1"/>
                </a:solidFill>
              </a:rPr>
              <a:t>Mosonmagyarovar</a:t>
            </a:r>
            <a:r>
              <a:rPr lang="de-DE" dirty="0">
                <a:solidFill>
                  <a:schemeClr val="bg1"/>
                </a:solidFill>
              </a:rPr>
              <a:t>)  </a:t>
            </a:r>
            <a:r>
              <a:rPr lang="de-DE" dirty="0" err="1">
                <a:solidFill>
                  <a:schemeClr val="bg1"/>
                </a:solidFill>
              </a:rPr>
              <a:t>status</a:t>
            </a:r>
            <a:r>
              <a:rPr lang="de-DE" dirty="0">
                <a:solidFill>
                  <a:schemeClr val="bg1"/>
                </a:solidFill>
              </a:rPr>
              <a:t> on 06 June 2018 </a:t>
            </a:r>
          </a:p>
        </p:txBody>
      </p:sp>
      <p:sp>
        <p:nvSpPr>
          <p:cNvPr id="14" name="Inhaltsplatzhalter 5"/>
          <p:cNvSpPr txBox="1">
            <a:spLocks/>
          </p:cNvSpPr>
          <p:nvPr/>
        </p:nvSpPr>
        <p:spPr>
          <a:xfrm>
            <a:off x="3455876" y="3396776"/>
            <a:ext cx="5364274" cy="374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Arial" pitchFamily="34" charset="0"/>
              </a:defRPr>
            </a:lvl1pPr>
            <a:lvl2pPr marL="179388" indent="-179388" algn="l" defTabSz="914400" rtl="0" eaLnBrk="1" latinLnBrk="0" hangingPunct="1">
              <a:spcBef>
                <a:spcPts val="5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47675" indent="-268288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7063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4. HUSKAT  </a:t>
            </a:r>
            <a:r>
              <a:rPr lang="de-DE" dirty="0" err="1"/>
              <a:t>status</a:t>
            </a:r>
            <a:r>
              <a:rPr lang="de-DE" dirty="0"/>
              <a:t> on 06 June 2018</a:t>
            </a:r>
          </a:p>
        </p:txBody>
      </p:sp>
      <p:sp>
        <p:nvSpPr>
          <p:cNvPr id="15" name="Inhaltsplatzhalter 5"/>
          <p:cNvSpPr txBox="1">
            <a:spLocks/>
          </p:cNvSpPr>
          <p:nvPr/>
        </p:nvSpPr>
        <p:spPr>
          <a:xfrm>
            <a:off x="3455876" y="4094949"/>
            <a:ext cx="5364274" cy="374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Arial" pitchFamily="34" charset="0"/>
              </a:defRPr>
            </a:lvl1pPr>
            <a:lvl2pPr marL="179388" indent="-179388" algn="l" defTabSz="914400" rtl="0" eaLnBrk="1" latinLnBrk="0" hangingPunct="1">
              <a:spcBef>
                <a:spcPts val="5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47675" indent="-268288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7063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5. </a:t>
            </a:r>
            <a:r>
              <a:rPr lang="de-DE" dirty="0" err="1"/>
              <a:t>Conclus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572775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6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 %&lt;/m_strSuffix17909&gt;&lt;m_yearfmt&gt;&lt;begin val=&quot;0&quot;/&gt;&lt;end val=&quot;4&quot;/&gt;&lt;/m_yearfmt&gt;&lt;/m_precDefaultPercent&gt;&lt;m_precDefaultDate&gt;&lt;m_bNumberIsYear val=&quot;0&quot;/&gt;&lt;m_strFormatTime&gt;%#d.%#m.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2.50703100000000000000E+000&quot;&gt;&lt;m_msothmcolidx val=&quot;0&quot;/&gt;&lt;m_rgb r=&quot;05&quot; g=&quot;A5&quot; b=&quot;A5&quot;/&gt;&lt;m_nBrightness val=&quot;0&quot;/&gt;&lt;/elem&gt;&lt;elem m_fUsage=&quot;1.89999999999999990000E+000&quot;&gt;&lt;m_msothmcolidx val=&quot;0&quot;/&gt;&lt;m_rgb r=&quot;F7&quot; g=&quot;DB&quot; b=&quot;C8&quot;/&gt;&lt;m_nBrightness val=&quot;0&quot;/&gt;&lt;/elem&gt;&lt;elem m_fUsage=&quot;8.10000000000000050000E-001&quot;&gt;&lt;m_msothmcolidx val=&quot;0&quot;/&gt;&lt;m_rgb r=&quot;FE&quot; g=&quot;7D&quot; b=&quot;6B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upermaster">
  <a:themeElements>
    <a:clrScheme name="ECA allg">
      <a:dk1>
        <a:srgbClr val="58585A"/>
      </a:dk1>
      <a:lt1>
        <a:srgbClr val="FFFFFF"/>
      </a:lt1>
      <a:dk2>
        <a:srgbClr val="87888A"/>
      </a:dk2>
      <a:lt2>
        <a:srgbClr val="CC071E"/>
      </a:lt2>
      <a:accent1>
        <a:srgbClr val="0066A9"/>
      </a:accent1>
      <a:accent2>
        <a:srgbClr val="699AC9"/>
      </a:accent2>
      <a:accent3>
        <a:srgbClr val="A0BADA"/>
      </a:accent3>
      <a:accent4>
        <a:srgbClr val="E49C00"/>
      </a:accent4>
      <a:accent5>
        <a:srgbClr val="FABB00"/>
      </a:accent5>
      <a:accent6>
        <a:srgbClr val="3FA535"/>
      </a:accent6>
      <a:hlink>
        <a:srgbClr val="0066A9"/>
      </a:hlink>
      <a:folHlink>
        <a:srgbClr val="7030A0"/>
      </a:folHlink>
    </a:clrScheme>
    <a:fontScheme name="ECA allg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rgbClr val="0066A9"/>
          </a:solidFill>
        </a:ln>
      </a:spPr>
      <a:bodyPr lIns="72000" rtlCol="0" anchor="t"/>
      <a:lstStyle>
        <a:defPPr algn="ctr">
          <a:defRPr dirty="0" smtClean="0">
            <a:solidFill>
              <a:srgbClr val="0066A9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 GAS - DE - 180215.potx" id="{23ECF98D-3E79-41CA-88FF-7E766F95E9FA}" vid="{C0639F45-216F-4C7C-9949-6B587B47BF37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cerDocumentName xmlns="959629f6-9180-4649-86c0-30df3e78ac81">ROHU(AT) – Mosonmagyarovar – HUSKAT.pptx</AcerDocumentName>
    <ACER_Abstract xmlns="985daa2e-53d8-4475-82b8-9c7d25324e34" xsi:nil="true"/>
    <_dlc_DocId xmlns="985daa2e-53d8-4475-82b8-9c7d25324e34">ACER-2018-79336</_dlc_DocId>
    <_dlc_DocIdUrl xmlns="985daa2e-53d8-4475-82b8-9c7d25324e34">
      <Url>https://extranet.acer.europa.eu/Events/24th-Stakeholder-Group-Meeting/_layouts/15/DocIdRedir.aspx?ID=ACER-2018-79336</Url>
      <Description>ACER-2018-79336</Description>
    </_dlc_DocIdUrl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68973875537543819112427E463607" ma:contentTypeVersion="20" ma:contentTypeDescription="Create a new document." ma:contentTypeScope="" ma:versionID="d80016635259354a3eaf806eb4d09c5e">
  <xsd:schema xmlns:xsd="http://www.w3.org/2001/XMLSchema" xmlns:xs="http://www.w3.org/2001/XMLSchema" xmlns:p="http://schemas.microsoft.com/office/2006/metadata/properties" xmlns:ns2="985daa2e-53d8-4475-82b8-9c7d25324e34" xmlns:ns3="959629f6-9180-4649-86c0-30df3e78ac81" targetNamespace="http://schemas.microsoft.com/office/2006/metadata/properties" ma:root="true" ma:fieldsID="4092f31a6356d37cdc8a95c017d03a1e" ns2:_="" ns3:_="">
    <xsd:import namespace="985daa2e-53d8-4475-82b8-9c7d25324e34"/>
    <xsd:import namespace="959629f6-9180-4649-86c0-30df3e78ac81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ACER_Abstract" minOccurs="0"/>
                <xsd:element ref="ns3:AcerDocumentName" minOccurs="0"/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5daa2e-53d8-4475-82b8-9c7d25324e34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ACER_Abstract" ma:index="11" nillable="true" ma:displayName="Abstract" ma:description="" ma:internalName="ACER_Abstract">
      <xsd:simpleType>
        <xsd:restriction base="dms:Note">
          <xsd:maxLength value="255"/>
        </xsd:restriction>
      </xsd:simpleType>
    </xsd:element>
    <xsd:element name="SharedWithUsers" ma:index="13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9629f6-9180-4649-86c0-30df3e78ac81" elementFormDefault="qualified">
    <xsd:import namespace="http://schemas.microsoft.com/office/2006/documentManagement/types"/>
    <xsd:import namespace="http://schemas.microsoft.com/office/infopath/2007/PartnerControls"/>
    <xsd:element name="AcerDocumentName" ma:index="12" nillable="true" ma:displayName="Document name" ma:hidden="true" ma:internalName="AcerDocumentNam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Description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WithSurveyEventReceiver</Name>
    <Synchronization>Asynchronous</Synchronization>
    <Type>10002</Type>
    <SequenceNumber>11001</SequenceNumber>
    <Assembly>Acer.DocSurvey.DataModel, Version=1.0.0.0, Culture=neutral, PublicKeyToken=4521b098f10fe6ff</Assembly>
    <Class>Acer.DocSurvey.DataModel.EventReceivers.DocumentWithSurveyEventReceiver</Class>
    <Data/>
    <Filter/>
  </Receiver>
</spe:Receiver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ADF73B3-2387-4F05-B112-8F62746F8D40}"/>
</file>

<file path=customXml/itemProps2.xml><?xml version="1.0" encoding="utf-8"?>
<ds:datastoreItem xmlns:ds="http://schemas.openxmlformats.org/officeDocument/2006/customXml" ds:itemID="{A3272362-7272-4102-B8E6-A4180827398A}"/>
</file>

<file path=customXml/itemProps3.xml><?xml version="1.0" encoding="utf-8"?>
<ds:datastoreItem xmlns:ds="http://schemas.openxmlformats.org/officeDocument/2006/customXml" ds:itemID="{7836E8CC-4632-43D2-B4D8-C8252F0A8AEB}"/>
</file>

<file path=customXml/itemProps4.xml><?xml version="1.0" encoding="utf-8"?>
<ds:datastoreItem xmlns:ds="http://schemas.openxmlformats.org/officeDocument/2006/customXml" ds:itemID="{0FE824DD-0106-453D-82B7-8F0B36CDF8C1}"/>
</file>

<file path=docProps/app.xml><?xml version="1.0" encoding="utf-8"?>
<Properties xmlns="http://schemas.openxmlformats.org/officeDocument/2006/extended-properties" xmlns:vt="http://schemas.openxmlformats.org/officeDocument/2006/docPropsVTypes">
  <Template>00-PRÄSENTATION_GAS_2018</Template>
  <TotalTime>0</TotalTime>
  <Words>1756</Words>
  <Application>Microsoft Office PowerPoint</Application>
  <PresentationFormat>Bildschirmpräsentation (16:9)</PresentationFormat>
  <Paragraphs>400</Paragraphs>
  <Slides>34</Slides>
  <Notes>3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1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4</vt:i4>
      </vt:variant>
    </vt:vector>
  </HeadingPairs>
  <TitlesOfParts>
    <vt:vector size="47" baseType="lpstr">
      <vt:lpstr>Arial</vt:lpstr>
      <vt:lpstr>Arial Narrow</vt:lpstr>
      <vt:lpstr>Calibri</vt:lpstr>
      <vt:lpstr>Cambria Math</vt:lpstr>
      <vt:lpstr>Franklin Gothic Book</vt:lpstr>
      <vt:lpstr>Franklin Gothic Demi</vt:lpstr>
      <vt:lpstr>Symbol</vt:lpstr>
      <vt:lpstr>Times New Roman</vt:lpstr>
      <vt:lpstr>Webdings</vt:lpstr>
      <vt:lpstr>Wingdings</vt:lpstr>
      <vt:lpstr>Wingdings 2</vt:lpstr>
      <vt:lpstr>Supermaster</vt:lpstr>
      <vt:lpstr>think-cell Folie</vt:lpstr>
      <vt:lpstr>ROHU(AT) – Mosonmagyarovar – HUSKAT  GRI SSE  Prag </vt:lpstr>
      <vt:lpstr>PowerPoint-Präsentation</vt:lpstr>
      <vt:lpstr>TSOs: new gas route - ROHUAT</vt:lpstr>
      <vt:lpstr>Tariffs overview ROHUAT</vt:lpstr>
      <vt:lpstr>Project costs overview ROHUAT</vt:lpstr>
      <vt:lpstr>PowerPoint-Präsentation</vt:lpstr>
      <vt:lpstr>Tariffs overview ROHU</vt:lpstr>
      <vt:lpstr>Project costs overview ROHU</vt:lpstr>
      <vt:lpstr>PowerPoint-Präsentation</vt:lpstr>
      <vt:lpstr>Goal: to reach the Austrian VTP</vt:lpstr>
      <vt:lpstr>Goal: to reach the Austrian VTP</vt:lpstr>
      <vt:lpstr>Capacity HUAT  (Mosonmagyarovar)</vt:lpstr>
      <vt:lpstr>Tariffs overview HUAT  offer level 1</vt:lpstr>
      <vt:lpstr>Project costs overview HUAT offer level 1</vt:lpstr>
      <vt:lpstr>Tariffs overview HUAT  offer level 2</vt:lpstr>
      <vt:lpstr>Project costs overview HUAT offer level 2</vt:lpstr>
      <vt:lpstr>PowerPoint-Präsentation</vt:lpstr>
      <vt:lpstr>Tariffs overview HUSKAT </vt:lpstr>
      <vt:lpstr>Project costs overview HUSKAT </vt:lpstr>
      <vt:lpstr>PowerPoint-Präsentation</vt:lpstr>
      <vt:lpstr>Total investment costs </vt:lpstr>
      <vt:lpstr>Total transportation costs </vt:lpstr>
      <vt:lpstr>Status of the projects </vt:lpstr>
      <vt:lpstr>Links</vt:lpstr>
      <vt:lpstr>Disclaimer </vt:lpstr>
      <vt:lpstr>PowerPoint-Präsentation</vt:lpstr>
      <vt:lpstr>PowerPoint-Präsentation</vt:lpstr>
      <vt:lpstr>PowerPoint-Präsentation</vt:lpstr>
      <vt:lpstr>Total investment costs </vt:lpstr>
      <vt:lpstr>Capacity products &amp; tariffs ROHUAT</vt:lpstr>
      <vt:lpstr>Capacity products &amp; tariffs ROHUAT</vt:lpstr>
      <vt:lpstr>Capacity products &amp; tariffs ROHU</vt:lpstr>
      <vt:lpstr>Capacity products &amp; tariffs ROHU</vt:lpstr>
      <vt:lpstr>CAPEX HUAT (Mosonmagyarovar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8-05-29T07:28:26Z</dcterms:created>
  <dcterms:modified xsi:type="dcterms:W3CDTF">2018-06-08T10:52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168973875537543819112427E463607</vt:lpwstr>
  </property>
  <property fmtid="{D5CDD505-2E9C-101B-9397-08002B2CF9AE}" pid="3" name="_dlc_DocIdItemGuid">
    <vt:lpwstr>01db407f-5bcd-404e-92d1-0fe3077b5f0e</vt:lpwstr>
  </property>
</Properties>
</file>